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8.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9.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0.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1.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2.xml" ContentType="application/vnd.openxmlformats-officedocument.theme+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3.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4.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4.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71" r:id="rId4"/>
    <p:sldMasterId id="2147484983" r:id="rId5"/>
    <p:sldMasterId id="2147485083" r:id="rId6"/>
    <p:sldMasterId id="2147485771" r:id="rId7"/>
    <p:sldMasterId id="2147485915" r:id="rId8"/>
    <p:sldMasterId id="2147486003" r:id="rId9"/>
    <p:sldMasterId id="2147486023" r:id="rId10"/>
    <p:sldMasterId id="2147486226" r:id="rId11"/>
    <p:sldMasterId id="2147486275" r:id="rId12"/>
    <p:sldMasterId id="2147486326" r:id="rId13"/>
    <p:sldMasterId id="2147486367" r:id="rId14"/>
    <p:sldMasterId id="2147486424" r:id="rId15"/>
    <p:sldMasterId id="2147486463" r:id="rId16"/>
    <p:sldMasterId id="2147486483" r:id="rId17"/>
    <p:sldMasterId id="2147486525" r:id="rId18"/>
  </p:sldMasterIdLst>
  <p:notesMasterIdLst>
    <p:notesMasterId r:id="rId43"/>
  </p:notesMasterIdLst>
  <p:handoutMasterIdLst>
    <p:handoutMasterId r:id="rId44"/>
  </p:handoutMasterIdLst>
  <p:sldIdLst>
    <p:sldId id="2255" r:id="rId19"/>
    <p:sldId id="4516" r:id="rId20"/>
    <p:sldId id="8425" r:id="rId21"/>
    <p:sldId id="4589" r:id="rId22"/>
    <p:sldId id="8424" r:id="rId23"/>
    <p:sldId id="8408" r:id="rId24"/>
    <p:sldId id="8446" r:id="rId25"/>
    <p:sldId id="8441" r:id="rId26"/>
    <p:sldId id="8400" r:id="rId27"/>
    <p:sldId id="3720" r:id="rId28"/>
    <p:sldId id="8447" r:id="rId29"/>
    <p:sldId id="4527" r:id="rId30"/>
    <p:sldId id="4528" r:id="rId31"/>
    <p:sldId id="4553" r:id="rId32"/>
    <p:sldId id="8438" r:id="rId33"/>
    <p:sldId id="8449" r:id="rId34"/>
    <p:sldId id="274" r:id="rId35"/>
    <p:sldId id="4579" r:id="rId36"/>
    <p:sldId id="2076136631" r:id="rId37"/>
    <p:sldId id="2076136545" r:id="rId38"/>
    <p:sldId id="8384" r:id="rId39"/>
    <p:sldId id="11191" r:id="rId40"/>
    <p:sldId id="8395" r:id="rId41"/>
    <p:sldId id="10673" r:id="rId42"/>
  </p:sldIdLst>
  <p:sldSz cx="12192000" cy="6858000"/>
  <p:notesSz cx="6858000" cy="1533525"/>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BD035E6-E205-425E-A582-9C14F5E74D72}">
          <p14:sldIdLst>
            <p14:sldId id="2255"/>
          </p14:sldIdLst>
        </p14:section>
        <p14:section name="Challenger lead in: Ground audience on why transform/modernize" id="{CA86228F-BF7D-4A07-A48A-92E22C4C09DF}">
          <p14:sldIdLst/>
        </p14:section>
        <p14:section name="Triggers and urgency" id="{E7ABC0AE-8008-49A2-A40C-D2DFB07F937A}">
          <p14:sldIdLst>
            <p14:sldId id="4516"/>
            <p14:sldId id="8425"/>
            <p14:sldId id="4589"/>
            <p14:sldId id="8424"/>
            <p14:sldId id="8408"/>
          </p14:sldIdLst>
        </p14:section>
        <p14:section name="Migration / Modernization" id="{053DCA2A-5846-4AE8-B7AF-C82AFBC9587E}">
          <p14:sldIdLst>
            <p14:sldId id="8446"/>
            <p14:sldId id="8441"/>
            <p14:sldId id="8400"/>
            <p14:sldId id="3720"/>
          </p14:sldIdLst>
        </p14:section>
        <p14:section name="Common app migration &amp; modernization patterns" id="{9B2E08E2-A0C8-44BF-BA0C-1D558B1FF622}">
          <p14:sldIdLst/>
        </p14:section>
        <p14:section name="Azure migration journey &amp; tools" id="{05C0E847-F846-4B1C-85A8-A6600BFDF5A3}">
          <p14:sldIdLst>
            <p14:sldId id="8447"/>
            <p14:sldId id="4527"/>
            <p14:sldId id="4528"/>
            <p14:sldId id="4553"/>
            <p14:sldId id="8438"/>
          </p14:sldIdLst>
        </p14:section>
        <p14:section name="Key resources and investments" id="{A3D667B4-CBAD-489D-BC55-D15AC9CD3F3F}">
          <p14:sldIdLst>
            <p14:sldId id="8449"/>
            <p14:sldId id="274"/>
            <p14:sldId id="4579"/>
            <p14:sldId id="2076136631"/>
            <p14:sldId id="2076136545"/>
            <p14:sldId id="8384"/>
            <p14:sldId id="11191"/>
          </p14:sldIdLst>
        </p14:section>
        <p14:section name="Summary / CTA" id="{80E929E1-5067-472F-8572-B0346E0667BD}">
          <p14:sldIdLst>
            <p14:sldId id="8395"/>
            <p14:sldId id="106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Amber Chadd" initials="AC" lastIdx="35" clrIdx="4">
    <p:extLst>
      <p:ext uri="{19B8F6BF-5375-455C-9EA6-DF929625EA0E}">
        <p15:presenceInfo xmlns:p15="http://schemas.microsoft.com/office/powerpoint/2012/main" userId="S-1-5-21-383413107-1061881802-891584314-12490" providerId="AD"/>
      </p:ext>
    </p:extLst>
  </p:cmAuthor>
  <p:cmAuthor id="5" name="Arpan Shah" initials="AS" lastIdx="29" clrIdx="5">
    <p:extLst>
      <p:ext uri="{19B8F6BF-5375-455C-9EA6-DF929625EA0E}">
        <p15:presenceInfo xmlns:p15="http://schemas.microsoft.com/office/powerpoint/2012/main" userId="S::arpans@microsoft.com::2e6eff75-637e-496f-b2e4-8ea56582e179" providerId="AD"/>
      </p:ext>
    </p:extLst>
  </p:cmAuthor>
  <p:cmAuthor id="6" name="Long Chen" initials="LC [2]" lastIdx="2" clrIdx="6">
    <p:extLst>
      <p:ext uri="{19B8F6BF-5375-455C-9EA6-DF929625EA0E}">
        <p15:presenceInfo xmlns:p15="http://schemas.microsoft.com/office/powerpoint/2012/main" userId="S::longc@microsoft.com::f877351c-88fd-488c-af1a-5570cbce952f" providerId="AD"/>
      </p:ext>
    </p:extLst>
  </p:cmAuthor>
  <p:cmAuthor id="7" name="Tanuj Bansal" initials="TB" lastIdx="6" clrIdx="7">
    <p:extLst>
      <p:ext uri="{19B8F6BF-5375-455C-9EA6-DF929625EA0E}">
        <p15:presenceInfo xmlns:p15="http://schemas.microsoft.com/office/powerpoint/2012/main" userId="S::tanujb@microsoft.com::0e6787a4-e920-4c0e-adf4-fbcfdbade696" providerId="AD"/>
      </p:ext>
    </p:extLst>
  </p:cmAuthor>
  <p:cmAuthor id="8" name="Javier Nino" initials="JN" lastIdx="17" clrIdx="8">
    <p:extLst>
      <p:ext uri="{19B8F6BF-5375-455C-9EA6-DF929625EA0E}">
        <p15:presenceInfo xmlns:p15="http://schemas.microsoft.com/office/powerpoint/2012/main" userId="S::javnino@microsoft.com::408c3470-3e76-401d-abc0-1146438f9eab" providerId="AD"/>
      </p:ext>
    </p:extLst>
  </p:cmAuthor>
  <p:cmAuthor id="9" name="Brian Shiers" initials="BS" lastIdx="7" clrIdx="9">
    <p:extLst>
      <p:ext uri="{19B8F6BF-5375-455C-9EA6-DF929625EA0E}">
        <p15:presenceInfo xmlns:p15="http://schemas.microsoft.com/office/powerpoint/2012/main" userId="S::bshiers@microsoft.com::7af26a8f-b88c-418b-867e-968c848421b4" providerId="AD"/>
      </p:ext>
    </p:extLst>
  </p:cmAuthor>
  <p:cmAuthor id="10" name="Frederico Pravatta Rezende" initials="FPR" lastIdx="3" clrIdx="10">
    <p:extLst>
      <p:ext uri="{19B8F6BF-5375-455C-9EA6-DF929625EA0E}">
        <p15:presenceInfo xmlns:p15="http://schemas.microsoft.com/office/powerpoint/2012/main" userId="S::freder@microsoft.com::f5e2bfbe-7a5b-4c5a-8dfb-73b92783c423" providerId="AD"/>
      </p:ext>
    </p:extLst>
  </p:cmAuthor>
  <p:cmAuthor id="11" name="Vishal Mehrotra" initials="VM" lastIdx="3" clrIdx="11">
    <p:extLst>
      <p:ext uri="{19B8F6BF-5375-455C-9EA6-DF929625EA0E}">
        <p15:presenceInfo xmlns:p15="http://schemas.microsoft.com/office/powerpoint/2012/main" userId="S::vishm@microsoft.com::dbacee71-5ce7-4721-9a0f-14d50c77fbd4" providerId="AD"/>
      </p:ext>
    </p:extLst>
  </p:cmAuthor>
  <p:cmAuthor id="12" name="anant sundaram" initials="as" lastIdx="1" clrIdx="12">
    <p:extLst>
      <p:ext uri="{19B8F6BF-5375-455C-9EA6-DF929625EA0E}">
        <p15:presenceInfo xmlns:p15="http://schemas.microsoft.com/office/powerpoint/2012/main" userId="09c4574f8e7018a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131"/>
    <a:srgbClr val="F14001"/>
    <a:srgbClr val="D83B01"/>
    <a:srgbClr val="F7981F"/>
    <a:srgbClr val="FFB900"/>
    <a:srgbClr val="BDBDBD"/>
    <a:srgbClr val="D2D2D2"/>
    <a:srgbClr val="E6E6E6"/>
    <a:srgbClr val="303030"/>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A0B2A5-6D73-4B9A-9D02-55A10BA589BA}" v="60" dt="2019-07-31T17:16:54.9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892" autoAdjust="0"/>
    <p:restoredTop sz="94660"/>
  </p:normalViewPr>
  <p:slideViewPr>
    <p:cSldViewPr snapToGrid="0">
      <p:cViewPr varScale="1">
        <p:scale>
          <a:sx n="81" d="100"/>
          <a:sy n="81" d="100"/>
        </p:scale>
        <p:origin x="30" y="345"/>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an" userId="60efe49c-fdb2-479d-bd36-260f4732f51a" providerId="ADAL" clId="{34A0B2A5-6D73-4B9A-9D02-55A10BA589BA}"/>
    <pc:docChg chg="undo custSel addSld delSld modSld sldOrd modSection">
      <pc:chgData name="Sarah Lean" userId="60efe49c-fdb2-479d-bd36-260f4732f51a" providerId="ADAL" clId="{34A0B2A5-6D73-4B9A-9D02-55A10BA589BA}" dt="2019-07-31T17:16:51.309" v="313" actId="47"/>
      <pc:docMkLst>
        <pc:docMk/>
      </pc:docMkLst>
      <pc:sldChg chg="addSp">
        <pc:chgData name="Sarah Lean" userId="60efe49c-fdb2-479d-bd36-260f4732f51a" providerId="ADAL" clId="{34A0B2A5-6D73-4B9A-9D02-55A10BA589BA}" dt="2019-07-31T08:34:57.275" v="279"/>
        <pc:sldMkLst>
          <pc:docMk/>
          <pc:sldMk cId="167524570" sldId="274"/>
        </pc:sldMkLst>
        <pc:spChg chg="add">
          <ac:chgData name="Sarah Lean" userId="60efe49c-fdb2-479d-bd36-260f4732f51a" providerId="ADAL" clId="{34A0B2A5-6D73-4B9A-9D02-55A10BA589BA}" dt="2019-07-31T08:34:57.275" v="279"/>
          <ac:spMkLst>
            <pc:docMk/>
            <pc:sldMk cId="167524570" sldId="274"/>
            <ac:spMk id="15" creationId="{4FE632C8-8EC4-4F08-8E5F-26770F8783F3}"/>
          </ac:spMkLst>
        </pc:spChg>
      </pc:sldChg>
      <pc:sldChg chg="del">
        <pc:chgData name="Sarah Lean" userId="60efe49c-fdb2-479d-bd36-260f4732f51a" providerId="ADAL" clId="{34A0B2A5-6D73-4B9A-9D02-55A10BA589BA}" dt="2019-07-26T09:23:18.908" v="127" actId="47"/>
        <pc:sldMkLst>
          <pc:docMk/>
          <pc:sldMk cId="139742721" sldId="447"/>
        </pc:sldMkLst>
      </pc:sldChg>
      <pc:sldChg chg="del">
        <pc:chgData name="Sarah Lean" userId="60efe49c-fdb2-479d-bd36-260f4732f51a" providerId="ADAL" clId="{34A0B2A5-6D73-4B9A-9D02-55A10BA589BA}" dt="2019-07-26T09:39:26.567" v="135" actId="47"/>
        <pc:sldMkLst>
          <pc:docMk/>
          <pc:sldMk cId="2964277314" sldId="2218"/>
        </pc:sldMkLst>
      </pc:sldChg>
      <pc:sldChg chg="addSp modSp">
        <pc:chgData name="Sarah Lean" userId="60efe49c-fdb2-479d-bd36-260f4732f51a" providerId="ADAL" clId="{34A0B2A5-6D73-4B9A-9D02-55A10BA589BA}" dt="2019-07-26T08:40:46.014" v="123" actId="20577"/>
        <pc:sldMkLst>
          <pc:docMk/>
          <pc:sldMk cId="2519746278" sldId="2255"/>
        </pc:sldMkLst>
        <pc:spChg chg="mod">
          <ac:chgData name="Sarah Lean" userId="60efe49c-fdb2-479d-bd36-260f4732f51a" providerId="ADAL" clId="{34A0B2A5-6D73-4B9A-9D02-55A10BA589BA}" dt="2019-07-26T08:40:46.014" v="123" actId="20577"/>
          <ac:spMkLst>
            <pc:docMk/>
            <pc:sldMk cId="2519746278" sldId="2255"/>
            <ac:spMk id="4" creationId="{137252F1-5BAB-43B8-A0B5-898197F80EBD}"/>
          </ac:spMkLst>
        </pc:spChg>
        <pc:spChg chg="mod">
          <ac:chgData name="Sarah Lean" userId="60efe49c-fdb2-479d-bd36-260f4732f51a" providerId="ADAL" clId="{34A0B2A5-6D73-4B9A-9D02-55A10BA589BA}" dt="2019-07-26T08:40:03.077" v="19" actId="20577"/>
          <ac:spMkLst>
            <pc:docMk/>
            <pc:sldMk cId="2519746278" sldId="2255"/>
            <ac:spMk id="8" creationId="{8B803897-1633-4217-8F08-EEA43FEB68A0}"/>
          </ac:spMkLst>
        </pc:spChg>
        <pc:picChg chg="add mod">
          <ac:chgData name="Sarah Lean" userId="60efe49c-fdb2-479d-bd36-260f4732f51a" providerId="ADAL" clId="{34A0B2A5-6D73-4B9A-9D02-55A10BA589BA}" dt="2019-07-26T08:40:28.288" v="56" actId="1076"/>
          <ac:picMkLst>
            <pc:docMk/>
            <pc:sldMk cId="2519746278" sldId="2255"/>
            <ac:picMk id="5" creationId="{CEB57459-5CEA-4EB5-8C48-F6D3890B9D85}"/>
          </ac:picMkLst>
        </pc:picChg>
      </pc:sldChg>
      <pc:sldChg chg="addSp modSp">
        <pc:chgData name="Sarah Lean" userId="60efe49c-fdb2-479d-bd36-260f4732f51a" providerId="ADAL" clId="{34A0B2A5-6D73-4B9A-9D02-55A10BA589BA}" dt="2019-07-31T08:34:21.224" v="268" actId="1076"/>
        <pc:sldMkLst>
          <pc:docMk/>
          <pc:sldMk cId="3423163318" sldId="3720"/>
        </pc:sldMkLst>
        <pc:spChg chg="add mod">
          <ac:chgData name="Sarah Lean" userId="60efe49c-fdb2-479d-bd36-260f4732f51a" providerId="ADAL" clId="{34A0B2A5-6D73-4B9A-9D02-55A10BA589BA}" dt="2019-07-31T08:34:21.224" v="268" actId="1076"/>
          <ac:spMkLst>
            <pc:docMk/>
            <pc:sldMk cId="3423163318" sldId="3720"/>
            <ac:spMk id="38" creationId="{C47CB5CB-9D74-43FE-B499-9F65E2AB1CE8}"/>
          </ac:spMkLst>
        </pc:spChg>
      </pc:sldChg>
      <pc:sldChg chg="addSp">
        <pc:chgData name="Sarah Lean" userId="60efe49c-fdb2-479d-bd36-260f4732f51a" providerId="ADAL" clId="{34A0B2A5-6D73-4B9A-9D02-55A10BA589BA}" dt="2019-07-31T08:33:36.288" v="257"/>
        <pc:sldMkLst>
          <pc:docMk/>
          <pc:sldMk cId="1179078170" sldId="4516"/>
        </pc:sldMkLst>
        <pc:spChg chg="add">
          <ac:chgData name="Sarah Lean" userId="60efe49c-fdb2-479d-bd36-260f4732f51a" providerId="ADAL" clId="{34A0B2A5-6D73-4B9A-9D02-55A10BA589BA}" dt="2019-07-31T08:33:36.288" v="257"/>
          <ac:spMkLst>
            <pc:docMk/>
            <pc:sldMk cId="1179078170" sldId="4516"/>
            <ac:spMk id="79" creationId="{3C6C182D-5467-4DA6-B8D6-0FF1F7886444}"/>
          </ac:spMkLst>
        </pc:spChg>
      </pc:sldChg>
      <pc:sldChg chg="addSp del">
        <pc:chgData name="Sarah Lean" userId="60efe49c-fdb2-479d-bd36-260f4732f51a" providerId="ADAL" clId="{34A0B2A5-6D73-4B9A-9D02-55A10BA589BA}" dt="2019-07-31T15:06:34.624" v="287" actId="47"/>
        <pc:sldMkLst>
          <pc:docMk/>
          <pc:sldMk cId="3825765133" sldId="4518"/>
        </pc:sldMkLst>
        <pc:spChg chg="add">
          <ac:chgData name="Sarah Lean" userId="60efe49c-fdb2-479d-bd36-260f4732f51a" providerId="ADAL" clId="{34A0B2A5-6D73-4B9A-9D02-55A10BA589BA}" dt="2019-07-31T08:34:00.257" v="263"/>
          <ac:spMkLst>
            <pc:docMk/>
            <pc:sldMk cId="3825765133" sldId="4518"/>
            <ac:spMk id="20" creationId="{C5AB9A87-0E7F-4D1C-B044-6E0A28F1DDF2}"/>
          </ac:spMkLst>
        </pc:spChg>
      </pc:sldChg>
      <pc:sldChg chg="addSp">
        <pc:chgData name="Sarah Lean" userId="60efe49c-fdb2-479d-bd36-260f4732f51a" providerId="ADAL" clId="{34A0B2A5-6D73-4B9A-9D02-55A10BA589BA}" dt="2019-07-31T08:34:26.188" v="270"/>
        <pc:sldMkLst>
          <pc:docMk/>
          <pc:sldMk cId="409020728" sldId="4527"/>
        </pc:sldMkLst>
        <pc:spChg chg="add">
          <ac:chgData name="Sarah Lean" userId="60efe49c-fdb2-479d-bd36-260f4732f51a" providerId="ADAL" clId="{34A0B2A5-6D73-4B9A-9D02-55A10BA589BA}" dt="2019-07-31T08:34:26.188" v="270"/>
          <ac:spMkLst>
            <pc:docMk/>
            <pc:sldMk cId="409020728" sldId="4527"/>
            <ac:spMk id="37" creationId="{0FE85553-80C9-44AE-BD03-45B50B146E7A}"/>
          </ac:spMkLst>
        </pc:spChg>
      </pc:sldChg>
      <pc:sldChg chg="addSp">
        <pc:chgData name="Sarah Lean" userId="60efe49c-fdb2-479d-bd36-260f4732f51a" providerId="ADAL" clId="{34A0B2A5-6D73-4B9A-9D02-55A10BA589BA}" dt="2019-07-31T08:34:30.537" v="271"/>
        <pc:sldMkLst>
          <pc:docMk/>
          <pc:sldMk cId="1497213779" sldId="4528"/>
        </pc:sldMkLst>
        <pc:spChg chg="add">
          <ac:chgData name="Sarah Lean" userId="60efe49c-fdb2-479d-bd36-260f4732f51a" providerId="ADAL" clId="{34A0B2A5-6D73-4B9A-9D02-55A10BA589BA}" dt="2019-07-31T08:34:30.537" v="271"/>
          <ac:spMkLst>
            <pc:docMk/>
            <pc:sldMk cId="1497213779" sldId="4528"/>
            <ac:spMk id="89" creationId="{8E2AAE6C-B340-4F9A-8110-ABC8330084E3}"/>
          </ac:spMkLst>
        </pc:spChg>
      </pc:sldChg>
      <pc:sldChg chg="addSp delSp modSp">
        <pc:chgData name="Sarah Lean" userId="60efe49c-fdb2-479d-bd36-260f4732f51a" providerId="ADAL" clId="{34A0B2A5-6D73-4B9A-9D02-55A10BA589BA}" dt="2019-07-31T08:34:50.517" v="276" actId="1076"/>
        <pc:sldMkLst>
          <pc:docMk/>
          <pc:sldMk cId="777436018" sldId="4553"/>
        </pc:sldMkLst>
        <pc:spChg chg="del mod">
          <ac:chgData name="Sarah Lean" userId="60efe49c-fdb2-479d-bd36-260f4732f51a" providerId="ADAL" clId="{34A0B2A5-6D73-4B9A-9D02-55A10BA589BA}" dt="2019-07-31T08:34:46.498" v="275" actId="478"/>
          <ac:spMkLst>
            <pc:docMk/>
            <pc:sldMk cId="777436018" sldId="4553"/>
            <ac:spMk id="12" creationId="{DB1EA605-0D06-4EF1-8146-B057E7B4C73A}"/>
          </ac:spMkLst>
        </pc:spChg>
        <pc:spChg chg="add mod">
          <ac:chgData name="Sarah Lean" userId="60efe49c-fdb2-479d-bd36-260f4732f51a" providerId="ADAL" clId="{34A0B2A5-6D73-4B9A-9D02-55A10BA589BA}" dt="2019-07-31T08:34:50.517" v="276" actId="1076"/>
          <ac:spMkLst>
            <pc:docMk/>
            <pc:sldMk cId="777436018" sldId="4553"/>
            <ac:spMk id="47" creationId="{33CB250C-0E66-4C41-9CFE-01382594F577}"/>
          </ac:spMkLst>
        </pc:spChg>
      </pc:sldChg>
      <pc:sldChg chg="del">
        <pc:chgData name="Sarah Lean" userId="60efe49c-fdb2-479d-bd36-260f4732f51a" providerId="ADAL" clId="{34A0B2A5-6D73-4B9A-9D02-55A10BA589BA}" dt="2019-07-31T08:28:45.396" v="140" actId="47"/>
        <pc:sldMkLst>
          <pc:docMk/>
          <pc:sldMk cId="4023671675" sldId="4556"/>
        </pc:sldMkLst>
      </pc:sldChg>
      <pc:sldChg chg="add del">
        <pc:chgData name="Sarah Lean" userId="60efe49c-fdb2-479d-bd36-260f4732f51a" providerId="ADAL" clId="{34A0B2A5-6D73-4B9A-9D02-55A10BA589BA}" dt="2019-07-31T08:29:56.403" v="147" actId="47"/>
        <pc:sldMkLst>
          <pc:docMk/>
          <pc:sldMk cId="2087920813" sldId="4557"/>
        </pc:sldMkLst>
      </pc:sldChg>
      <pc:sldChg chg="del">
        <pc:chgData name="Sarah Lean" userId="60efe49c-fdb2-479d-bd36-260f4732f51a" providerId="ADAL" clId="{34A0B2A5-6D73-4B9A-9D02-55A10BA589BA}" dt="2019-07-26T10:18:45.222" v="139" actId="47"/>
        <pc:sldMkLst>
          <pc:docMk/>
          <pc:sldMk cId="67324204" sldId="4559"/>
        </pc:sldMkLst>
      </pc:sldChg>
      <pc:sldChg chg="del">
        <pc:chgData name="Sarah Lean" userId="60efe49c-fdb2-479d-bd36-260f4732f51a" providerId="ADAL" clId="{34A0B2A5-6D73-4B9A-9D02-55A10BA589BA}" dt="2019-07-26T10:18:45.222" v="139" actId="47"/>
        <pc:sldMkLst>
          <pc:docMk/>
          <pc:sldMk cId="3913192488" sldId="4560"/>
        </pc:sldMkLst>
      </pc:sldChg>
      <pc:sldChg chg="addSp">
        <pc:chgData name="Sarah Lean" userId="60efe49c-fdb2-479d-bd36-260f4732f51a" providerId="ADAL" clId="{34A0B2A5-6D73-4B9A-9D02-55A10BA589BA}" dt="2019-07-31T08:35:01.355" v="280"/>
        <pc:sldMkLst>
          <pc:docMk/>
          <pc:sldMk cId="2906496492" sldId="4579"/>
        </pc:sldMkLst>
        <pc:spChg chg="add">
          <ac:chgData name="Sarah Lean" userId="60efe49c-fdb2-479d-bd36-260f4732f51a" providerId="ADAL" clId="{34A0B2A5-6D73-4B9A-9D02-55A10BA589BA}" dt="2019-07-31T08:35:01.355" v="280"/>
          <ac:spMkLst>
            <pc:docMk/>
            <pc:sldMk cId="2906496492" sldId="4579"/>
            <ac:spMk id="12" creationId="{105F7AF6-6CA8-43EB-AE9C-94F631169602}"/>
          </ac:spMkLst>
        </pc:spChg>
      </pc:sldChg>
      <pc:sldChg chg="add">
        <pc:chgData name="Sarah Lean" userId="60efe49c-fdb2-479d-bd36-260f4732f51a" providerId="ADAL" clId="{34A0B2A5-6D73-4B9A-9D02-55A10BA589BA}" dt="2019-07-31T15:19:35.358" v="290"/>
        <pc:sldMkLst>
          <pc:docMk/>
          <pc:sldMk cId="2758028883" sldId="4589"/>
        </pc:sldMkLst>
      </pc:sldChg>
      <pc:sldChg chg="addSp">
        <pc:chgData name="Sarah Lean" userId="60efe49c-fdb2-479d-bd36-260f4732f51a" providerId="ADAL" clId="{34A0B2A5-6D73-4B9A-9D02-55A10BA589BA}" dt="2019-07-31T08:35:11.222" v="283"/>
        <pc:sldMkLst>
          <pc:docMk/>
          <pc:sldMk cId="1532432295" sldId="8384"/>
        </pc:sldMkLst>
        <pc:spChg chg="add">
          <ac:chgData name="Sarah Lean" userId="60efe49c-fdb2-479d-bd36-260f4732f51a" providerId="ADAL" clId="{34A0B2A5-6D73-4B9A-9D02-55A10BA589BA}" dt="2019-07-31T08:35:11.222" v="283"/>
          <ac:spMkLst>
            <pc:docMk/>
            <pc:sldMk cId="1532432295" sldId="8384"/>
            <ac:spMk id="11" creationId="{060EFD4F-9BD3-4A4D-922D-68959BB9640A}"/>
          </ac:spMkLst>
        </pc:spChg>
      </pc:sldChg>
      <pc:sldChg chg="add setBg">
        <pc:chgData name="Sarah Lean" userId="60efe49c-fdb2-479d-bd36-260f4732f51a" providerId="ADAL" clId="{34A0B2A5-6D73-4B9A-9D02-55A10BA589BA}" dt="2019-07-26T08:42:27.546" v="124"/>
        <pc:sldMkLst>
          <pc:docMk/>
          <pc:sldMk cId="3653083679" sldId="8395"/>
        </pc:sldMkLst>
      </pc:sldChg>
      <pc:sldChg chg="addSp">
        <pc:chgData name="Sarah Lean" userId="60efe49c-fdb2-479d-bd36-260f4732f51a" providerId="ADAL" clId="{34A0B2A5-6D73-4B9A-9D02-55A10BA589BA}" dt="2019-07-31T08:34:11.541" v="266"/>
        <pc:sldMkLst>
          <pc:docMk/>
          <pc:sldMk cId="3728814522" sldId="8400"/>
        </pc:sldMkLst>
        <pc:spChg chg="add">
          <ac:chgData name="Sarah Lean" userId="60efe49c-fdb2-479d-bd36-260f4732f51a" providerId="ADAL" clId="{34A0B2A5-6D73-4B9A-9D02-55A10BA589BA}" dt="2019-07-31T08:34:11.541" v="266"/>
          <ac:spMkLst>
            <pc:docMk/>
            <pc:sldMk cId="3728814522" sldId="8400"/>
            <ac:spMk id="35" creationId="{583BDCBF-9C43-4FFD-AA9C-290AEFA303AA}"/>
          </ac:spMkLst>
        </pc:spChg>
      </pc:sldChg>
      <pc:sldChg chg="del">
        <pc:chgData name="Sarah Lean" userId="60efe49c-fdb2-479d-bd36-260f4732f51a" providerId="ADAL" clId="{34A0B2A5-6D73-4B9A-9D02-55A10BA589BA}" dt="2019-07-26T09:39:16.304" v="132" actId="47"/>
        <pc:sldMkLst>
          <pc:docMk/>
          <pc:sldMk cId="3352040386" sldId="8403"/>
        </pc:sldMkLst>
      </pc:sldChg>
      <pc:sldChg chg="del">
        <pc:chgData name="Sarah Lean" userId="60efe49c-fdb2-479d-bd36-260f4732f51a" providerId="ADAL" clId="{34A0B2A5-6D73-4B9A-9D02-55A10BA589BA}" dt="2019-07-26T09:39:17.139" v="133" actId="47"/>
        <pc:sldMkLst>
          <pc:docMk/>
          <pc:sldMk cId="3306844855" sldId="8404"/>
        </pc:sldMkLst>
      </pc:sldChg>
      <pc:sldChg chg="addSp del">
        <pc:chgData name="Sarah Lean" userId="60efe49c-fdb2-479d-bd36-260f4732f51a" providerId="ADAL" clId="{34A0B2A5-6D73-4B9A-9D02-55A10BA589BA}" dt="2019-07-31T15:06:30.130" v="285" actId="47"/>
        <pc:sldMkLst>
          <pc:docMk/>
          <pc:sldMk cId="484135747" sldId="8407"/>
        </pc:sldMkLst>
        <pc:spChg chg="add">
          <ac:chgData name="Sarah Lean" userId="60efe49c-fdb2-479d-bd36-260f4732f51a" providerId="ADAL" clId="{34A0B2A5-6D73-4B9A-9D02-55A10BA589BA}" dt="2019-07-31T08:33:49.903" v="260"/>
          <ac:spMkLst>
            <pc:docMk/>
            <pc:sldMk cId="484135747" sldId="8407"/>
            <ac:spMk id="16" creationId="{C6C5423F-6CEA-4A4C-9112-5CE772933990}"/>
          </ac:spMkLst>
        </pc:spChg>
      </pc:sldChg>
      <pc:sldChg chg="addSp">
        <pc:chgData name="Sarah Lean" userId="60efe49c-fdb2-479d-bd36-260f4732f51a" providerId="ADAL" clId="{34A0B2A5-6D73-4B9A-9D02-55A10BA589BA}" dt="2019-07-31T08:33:54.041" v="261"/>
        <pc:sldMkLst>
          <pc:docMk/>
          <pc:sldMk cId="1557210387" sldId="8408"/>
        </pc:sldMkLst>
        <pc:spChg chg="add">
          <ac:chgData name="Sarah Lean" userId="60efe49c-fdb2-479d-bd36-260f4732f51a" providerId="ADAL" clId="{34A0B2A5-6D73-4B9A-9D02-55A10BA589BA}" dt="2019-07-31T08:33:54.041" v="261"/>
          <ac:spMkLst>
            <pc:docMk/>
            <pc:sldMk cId="1557210387" sldId="8408"/>
            <ac:spMk id="16" creationId="{B8B99251-0B5A-4E40-8165-7CD57E4C47E8}"/>
          </ac:spMkLst>
        </pc:spChg>
      </pc:sldChg>
      <pc:sldChg chg="addSp del">
        <pc:chgData name="Sarah Lean" userId="60efe49c-fdb2-479d-bd36-260f4732f51a" providerId="ADAL" clId="{34A0B2A5-6D73-4B9A-9D02-55A10BA589BA}" dt="2019-07-31T15:06:34.116" v="286" actId="47"/>
        <pc:sldMkLst>
          <pc:docMk/>
          <pc:sldMk cId="2584650379" sldId="8410"/>
        </pc:sldMkLst>
        <pc:spChg chg="add">
          <ac:chgData name="Sarah Lean" userId="60efe49c-fdb2-479d-bd36-260f4732f51a" providerId="ADAL" clId="{34A0B2A5-6D73-4B9A-9D02-55A10BA589BA}" dt="2019-07-31T08:33:56.583" v="262"/>
          <ac:spMkLst>
            <pc:docMk/>
            <pc:sldMk cId="2584650379" sldId="8410"/>
            <ac:spMk id="19" creationId="{93FBB20D-C6D0-4E03-9744-27ACBF8323B2}"/>
          </ac:spMkLst>
        </pc:spChg>
      </pc:sldChg>
      <pc:sldChg chg="del">
        <pc:chgData name="Sarah Lean" userId="60efe49c-fdb2-479d-bd36-260f4732f51a" providerId="ADAL" clId="{34A0B2A5-6D73-4B9A-9D02-55A10BA589BA}" dt="2019-07-26T08:42:29.525" v="125" actId="47"/>
        <pc:sldMkLst>
          <pc:docMk/>
          <pc:sldMk cId="802512436" sldId="8412"/>
        </pc:sldMkLst>
      </pc:sldChg>
      <pc:sldChg chg="addSp modSp del">
        <pc:chgData name="Sarah Lean" userId="60efe49c-fdb2-479d-bd36-260f4732f51a" providerId="ADAL" clId="{34A0B2A5-6D73-4B9A-9D02-55A10BA589BA}" dt="2019-07-31T17:16:49.055" v="311" actId="47"/>
        <pc:sldMkLst>
          <pc:docMk/>
          <pc:sldMk cId="1213434152" sldId="8414"/>
        </pc:sldMkLst>
        <pc:spChg chg="add mod">
          <ac:chgData name="Sarah Lean" userId="60efe49c-fdb2-479d-bd36-260f4732f51a" providerId="ADAL" clId="{34A0B2A5-6D73-4B9A-9D02-55A10BA589BA}" dt="2019-07-31T08:32:43.147" v="244" actId="20577"/>
          <ac:spMkLst>
            <pc:docMk/>
            <pc:sldMk cId="1213434152" sldId="8414"/>
            <ac:spMk id="4" creationId="{E60BA4E0-BF50-4F41-A914-2C5263B275CF}"/>
          </ac:spMkLst>
        </pc:spChg>
      </pc:sldChg>
      <pc:sldChg chg="addSp delSp modSp del">
        <pc:chgData name="Sarah Lean" userId="60efe49c-fdb2-479d-bd36-260f4732f51a" providerId="ADAL" clId="{34A0B2A5-6D73-4B9A-9D02-55A10BA589BA}" dt="2019-07-31T17:16:49.994" v="312" actId="47"/>
        <pc:sldMkLst>
          <pc:docMk/>
          <pc:sldMk cId="2026910460" sldId="8415"/>
        </pc:sldMkLst>
        <pc:spChg chg="mod">
          <ac:chgData name="Sarah Lean" userId="60efe49c-fdb2-479d-bd36-260f4732f51a" providerId="ADAL" clId="{34A0B2A5-6D73-4B9A-9D02-55A10BA589BA}" dt="2019-07-31T08:33:12.584" v="250" actId="1076"/>
          <ac:spMkLst>
            <pc:docMk/>
            <pc:sldMk cId="2026910460" sldId="8415"/>
            <ac:spMk id="5" creationId="{46E21378-10B9-4C1D-AF6D-5A27071045FC}"/>
          </ac:spMkLst>
        </pc:spChg>
        <pc:spChg chg="add del mod">
          <ac:chgData name="Sarah Lean" userId="60efe49c-fdb2-479d-bd36-260f4732f51a" providerId="ADAL" clId="{34A0B2A5-6D73-4B9A-9D02-55A10BA589BA}" dt="2019-07-31T08:33:14.716" v="251" actId="478"/>
          <ac:spMkLst>
            <pc:docMk/>
            <pc:sldMk cId="2026910460" sldId="8415"/>
            <ac:spMk id="7" creationId="{442BE0B7-C786-48DE-96CF-6E599BC124DB}"/>
          </ac:spMkLst>
        </pc:spChg>
        <pc:spChg chg="add">
          <ac:chgData name="Sarah Lean" userId="60efe49c-fdb2-479d-bd36-260f4732f51a" providerId="ADAL" clId="{34A0B2A5-6D73-4B9A-9D02-55A10BA589BA}" dt="2019-07-31T08:33:15.172" v="252"/>
          <ac:spMkLst>
            <pc:docMk/>
            <pc:sldMk cId="2026910460" sldId="8415"/>
            <ac:spMk id="8" creationId="{C642D27F-83DA-49AE-A709-045EE8753C5C}"/>
          </ac:spMkLst>
        </pc:spChg>
        <pc:spChg chg="mod">
          <ac:chgData name="Sarah Lean" userId="60efe49c-fdb2-479d-bd36-260f4732f51a" providerId="ADAL" clId="{34A0B2A5-6D73-4B9A-9D02-55A10BA589BA}" dt="2019-07-31T08:33:09.446" v="249" actId="1076"/>
          <ac:spMkLst>
            <pc:docMk/>
            <pc:sldMk cId="2026910460" sldId="8415"/>
            <ac:spMk id="607" creationId="{57010D0C-CCCE-4DA1-9B5F-AAA44C3A7EA2}"/>
          </ac:spMkLst>
        </pc:spChg>
      </pc:sldChg>
      <pc:sldChg chg="addSp modSp del">
        <pc:chgData name="Sarah Lean" userId="60efe49c-fdb2-479d-bd36-260f4732f51a" providerId="ADAL" clId="{34A0B2A5-6D73-4B9A-9D02-55A10BA589BA}" dt="2019-07-31T15:06:44.022" v="288" actId="47"/>
        <pc:sldMkLst>
          <pc:docMk/>
          <pc:sldMk cId="3164370969" sldId="8416"/>
        </pc:sldMkLst>
        <pc:spChg chg="add mod">
          <ac:chgData name="Sarah Lean" userId="60efe49c-fdb2-479d-bd36-260f4732f51a" providerId="ADAL" clId="{34A0B2A5-6D73-4B9A-9D02-55A10BA589BA}" dt="2019-07-31T08:33:25.859" v="254" actId="207"/>
          <ac:spMkLst>
            <pc:docMk/>
            <pc:sldMk cId="3164370969" sldId="8416"/>
            <ac:spMk id="21" creationId="{58F043EE-7FB7-49C7-88CF-5DDE40AB57AB}"/>
          </ac:spMkLst>
        </pc:spChg>
      </pc:sldChg>
      <pc:sldChg chg="del">
        <pc:chgData name="Sarah Lean" userId="60efe49c-fdb2-479d-bd36-260f4732f51a" providerId="ADAL" clId="{34A0B2A5-6D73-4B9A-9D02-55A10BA589BA}" dt="2019-07-26T09:23:18.304" v="126" actId="47"/>
        <pc:sldMkLst>
          <pc:docMk/>
          <pc:sldMk cId="4051528888" sldId="8417"/>
        </pc:sldMkLst>
      </pc:sldChg>
      <pc:sldChg chg="del">
        <pc:chgData name="Sarah Lean" userId="60efe49c-fdb2-479d-bd36-260f4732f51a" providerId="ADAL" clId="{34A0B2A5-6D73-4B9A-9D02-55A10BA589BA}" dt="2019-07-26T09:23:19.504" v="128" actId="47"/>
        <pc:sldMkLst>
          <pc:docMk/>
          <pc:sldMk cId="3138106900" sldId="8419"/>
        </pc:sldMkLst>
      </pc:sldChg>
      <pc:sldChg chg="del">
        <pc:chgData name="Sarah Lean" userId="60efe49c-fdb2-479d-bd36-260f4732f51a" providerId="ADAL" clId="{34A0B2A5-6D73-4B9A-9D02-55A10BA589BA}" dt="2019-07-26T09:23:20.219" v="129" actId="47"/>
        <pc:sldMkLst>
          <pc:docMk/>
          <pc:sldMk cId="527830968" sldId="8420"/>
        </pc:sldMkLst>
      </pc:sldChg>
      <pc:sldChg chg="del">
        <pc:chgData name="Sarah Lean" userId="60efe49c-fdb2-479d-bd36-260f4732f51a" providerId="ADAL" clId="{34A0B2A5-6D73-4B9A-9D02-55A10BA589BA}" dt="2019-07-26T09:23:21.044" v="130" actId="47"/>
        <pc:sldMkLst>
          <pc:docMk/>
          <pc:sldMk cId="1403916961" sldId="8421"/>
        </pc:sldMkLst>
      </pc:sldChg>
      <pc:sldChg chg="del">
        <pc:chgData name="Sarah Lean" userId="60efe49c-fdb2-479d-bd36-260f4732f51a" providerId="ADAL" clId="{34A0B2A5-6D73-4B9A-9D02-55A10BA589BA}" dt="2019-07-26T09:23:23.394" v="131" actId="47"/>
        <pc:sldMkLst>
          <pc:docMk/>
          <pc:sldMk cId="4224221279" sldId="8422"/>
        </pc:sldMkLst>
      </pc:sldChg>
      <pc:sldChg chg="addSp del">
        <pc:chgData name="Sarah Lean" userId="60efe49c-fdb2-479d-bd36-260f4732f51a" providerId="ADAL" clId="{34A0B2A5-6D73-4B9A-9D02-55A10BA589BA}" dt="2019-07-31T15:06:44.804" v="289" actId="47"/>
        <pc:sldMkLst>
          <pc:docMk/>
          <pc:sldMk cId="1211454007" sldId="8423"/>
        </pc:sldMkLst>
        <pc:spChg chg="add">
          <ac:chgData name="Sarah Lean" userId="60efe49c-fdb2-479d-bd36-260f4732f51a" providerId="ADAL" clId="{34A0B2A5-6D73-4B9A-9D02-55A10BA589BA}" dt="2019-07-31T08:33:29.703" v="255"/>
          <ac:spMkLst>
            <pc:docMk/>
            <pc:sldMk cId="1211454007" sldId="8423"/>
            <ac:spMk id="32" creationId="{0873135A-0B09-429A-8062-D07F681703DD}"/>
          </ac:spMkLst>
        </pc:spChg>
      </pc:sldChg>
      <pc:sldChg chg="addSp">
        <pc:chgData name="Sarah Lean" userId="60efe49c-fdb2-479d-bd36-260f4732f51a" providerId="ADAL" clId="{34A0B2A5-6D73-4B9A-9D02-55A10BA589BA}" dt="2019-07-31T08:33:45.784" v="259"/>
        <pc:sldMkLst>
          <pc:docMk/>
          <pc:sldMk cId="2523575858" sldId="8424"/>
        </pc:sldMkLst>
        <pc:spChg chg="add">
          <ac:chgData name="Sarah Lean" userId="60efe49c-fdb2-479d-bd36-260f4732f51a" providerId="ADAL" clId="{34A0B2A5-6D73-4B9A-9D02-55A10BA589BA}" dt="2019-07-31T08:33:45.784" v="259"/>
          <ac:spMkLst>
            <pc:docMk/>
            <pc:sldMk cId="2523575858" sldId="8424"/>
            <ac:spMk id="37" creationId="{43156075-0A27-48B0-8138-FFBCA64FD168}"/>
          </ac:spMkLst>
        </pc:spChg>
      </pc:sldChg>
      <pc:sldChg chg="addSp">
        <pc:chgData name="Sarah Lean" userId="60efe49c-fdb2-479d-bd36-260f4732f51a" providerId="ADAL" clId="{34A0B2A5-6D73-4B9A-9D02-55A10BA589BA}" dt="2019-07-31T08:33:40.544" v="258"/>
        <pc:sldMkLst>
          <pc:docMk/>
          <pc:sldMk cId="2178123816" sldId="8425"/>
        </pc:sldMkLst>
        <pc:spChg chg="add">
          <ac:chgData name="Sarah Lean" userId="60efe49c-fdb2-479d-bd36-260f4732f51a" providerId="ADAL" clId="{34A0B2A5-6D73-4B9A-9D02-55A10BA589BA}" dt="2019-07-31T08:33:40.544" v="258"/>
          <ac:spMkLst>
            <pc:docMk/>
            <pc:sldMk cId="2178123816" sldId="8425"/>
            <ac:spMk id="71" creationId="{274B1CCA-DEAD-4487-8770-763DE8A7D7FA}"/>
          </ac:spMkLst>
        </pc:spChg>
      </pc:sldChg>
      <pc:sldChg chg="addSp">
        <pc:chgData name="Sarah Lean" userId="60efe49c-fdb2-479d-bd36-260f4732f51a" providerId="ADAL" clId="{34A0B2A5-6D73-4B9A-9D02-55A10BA589BA}" dt="2019-07-31T08:34:53.519" v="277"/>
        <pc:sldMkLst>
          <pc:docMk/>
          <pc:sldMk cId="1646500776" sldId="8438"/>
        </pc:sldMkLst>
        <pc:spChg chg="add">
          <ac:chgData name="Sarah Lean" userId="60efe49c-fdb2-479d-bd36-260f4732f51a" providerId="ADAL" clId="{34A0B2A5-6D73-4B9A-9D02-55A10BA589BA}" dt="2019-07-31T08:34:53.519" v="277"/>
          <ac:spMkLst>
            <pc:docMk/>
            <pc:sldMk cId="1646500776" sldId="8438"/>
            <ac:spMk id="17" creationId="{8CE4F825-368F-4D51-8A6C-FAE728634A5C}"/>
          </ac:spMkLst>
        </pc:spChg>
      </pc:sldChg>
      <pc:sldChg chg="del">
        <pc:chgData name="Sarah Lean" userId="60efe49c-fdb2-479d-bd36-260f4732f51a" providerId="ADAL" clId="{34A0B2A5-6D73-4B9A-9D02-55A10BA589BA}" dt="2019-07-26T10:02:40.422" v="137" actId="47"/>
        <pc:sldMkLst>
          <pc:docMk/>
          <pc:sldMk cId="360199445" sldId="8439"/>
        </pc:sldMkLst>
      </pc:sldChg>
      <pc:sldChg chg="del">
        <pc:chgData name="Sarah Lean" userId="60efe49c-fdb2-479d-bd36-260f4732f51a" providerId="ADAL" clId="{34A0B2A5-6D73-4B9A-9D02-55A10BA589BA}" dt="2019-07-26T10:14:42.252" v="138" actId="47"/>
        <pc:sldMkLst>
          <pc:docMk/>
          <pc:sldMk cId="3335701993" sldId="8440"/>
        </pc:sldMkLst>
      </pc:sldChg>
      <pc:sldChg chg="addSp">
        <pc:chgData name="Sarah Lean" userId="60efe49c-fdb2-479d-bd36-260f4732f51a" providerId="ADAL" clId="{34A0B2A5-6D73-4B9A-9D02-55A10BA589BA}" dt="2019-07-31T08:34:06.512" v="265"/>
        <pc:sldMkLst>
          <pc:docMk/>
          <pc:sldMk cId="166768015" sldId="8441"/>
        </pc:sldMkLst>
        <pc:spChg chg="add">
          <ac:chgData name="Sarah Lean" userId="60efe49c-fdb2-479d-bd36-260f4732f51a" providerId="ADAL" clId="{34A0B2A5-6D73-4B9A-9D02-55A10BA589BA}" dt="2019-07-31T08:34:06.512" v="265"/>
          <ac:spMkLst>
            <pc:docMk/>
            <pc:sldMk cId="166768015" sldId="8441"/>
            <ac:spMk id="78" creationId="{3F4AAA8F-54FB-4F43-B012-D6B11251F430}"/>
          </ac:spMkLst>
        </pc:spChg>
      </pc:sldChg>
      <pc:sldChg chg="del">
        <pc:chgData name="Sarah Lean" userId="60efe49c-fdb2-479d-bd36-260f4732f51a" providerId="ADAL" clId="{34A0B2A5-6D73-4B9A-9D02-55A10BA589BA}" dt="2019-07-26T09:39:25.841" v="134" actId="47"/>
        <pc:sldMkLst>
          <pc:docMk/>
          <pc:sldMk cId="2918901664" sldId="8443"/>
        </pc:sldMkLst>
      </pc:sldChg>
      <pc:sldChg chg="addSp del">
        <pc:chgData name="Sarah Lean" userId="60efe49c-fdb2-479d-bd36-260f4732f51a" providerId="ADAL" clId="{34A0B2A5-6D73-4B9A-9D02-55A10BA589BA}" dt="2019-07-31T17:16:51.309" v="313" actId="47"/>
        <pc:sldMkLst>
          <pc:docMk/>
          <pc:sldMk cId="3232386301" sldId="8445"/>
        </pc:sldMkLst>
        <pc:spChg chg="add">
          <ac:chgData name="Sarah Lean" userId="60efe49c-fdb2-479d-bd36-260f4732f51a" providerId="ADAL" clId="{34A0B2A5-6D73-4B9A-9D02-55A10BA589BA}" dt="2019-07-31T08:33:34.888" v="256"/>
          <ac:spMkLst>
            <pc:docMk/>
            <pc:sldMk cId="3232386301" sldId="8445"/>
            <ac:spMk id="3" creationId="{67A855A0-4C88-4FE2-9AB7-5B33AAE5385E}"/>
          </ac:spMkLst>
        </pc:spChg>
      </pc:sldChg>
      <pc:sldChg chg="addSp">
        <pc:chgData name="Sarah Lean" userId="60efe49c-fdb2-479d-bd36-260f4732f51a" providerId="ADAL" clId="{34A0B2A5-6D73-4B9A-9D02-55A10BA589BA}" dt="2019-07-31T08:34:03.148" v="264"/>
        <pc:sldMkLst>
          <pc:docMk/>
          <pc:sldMk cId="1638926166" sldId="8446"/>
        </pc:sldMkLst>
        <pc:spChg chg="add">
          <ac:chgData name="Sarah Lean" userId="60efe49c-fdb2-479d-bd36-260f4732f51a" providerId="ADAL" clId="{34A0B2A5-6D73-4B9A-9D02-55A10BA589BA}" dt="2019-07-31T08:34:03.148" v="264"/>
          <ac:spMkLst>
            <pc:docMk/>
            <pc:sldMk cId="1638926166" sldId="8446"/>
            <ac:spMk id="3" creationId="{B11CCC80-8774-49B9-B585-F0D2C816F29D}"/>
          </ac:spMkLst>
        </pc:spChg>
      </pc:sldChg>
      <pc:sldChg chg="addSp">
        <pc:chgData name="Sarah Lean" userId="60efe49c-fdb2-479d-bd36-260f4732f51a" providerId="ADAL" clId="{34A0B2A5-6D73-4B9A-9D02-55A10BA589BA}" dt="2019-07-31T08:34:24.617" v="269"/>
        <pc:sldMkLst>
          <pc:docMk/>
          <pc:sldMk cId="2958628100" sldId="8447"/>
        </pc:sldMkLst>
        <pc:spChg chg="add">
          <ac:chgData name="Sarah Lean" userId="60efe49c-fdb2-479d-bd36-260f4732f51a" providerId="ADAL" clId="{34A0B2A5-6D73-4B9A-9D02-55A10BA589BA}" dt="2019-07-31T08:34:24.617" v="269"/>
          <ac:spMkLst>
            <pc:docMk/>
            <pc:sldMk cId="2958628100" sldId="8447"/>
            <ac:spMk id="3" creationId="{78C0C671-E345-46F1-A4A8-437048BDA89E}"/>
          </ac:spMkLst>
        </pc:spChg>
      </pc:sldChg>
      <pc:sldChg chg="addSp">
        <pc:chgData name="Sarah Lean" userId="60efe49c-fdb2-479d-bd36-260f4732f51a" providerId="ADAL" clId="{34A0B2A5-6D73-4B9A-9D02-55A10BA589BA}" dt="2019-07-31T08:34:55.639" v="278"/>
        <pc:sldMkLst>
          <pc:docMk/>
          <pc:sldMk cId="2385728354" sldId="8449"/>
        </pc:sldMkLst>
        <pc:spChg chg="add">
          <ac:chgData name="Sarah Lean" userId="60efe49c-fdb2-479d-bd36-260f4732f51a" providerId="ADAL" clId="{34A0B2A5-6D73-4B9A-9D02-55A10BA589BA}" dt="2019-07-31T08:34:55.639" v="278"/>
          <ac:spMkLst>
            <pc:docMk/>
            <pc:sldMk cId="2385728354" sldId="8449"/>
            <ac:spMk id="3" creationId="{1585CE85-3359-4BCE-BFE2-A977B37474F0}"/>
          </ac:spMkLst>
        </pc:spChg>
      </pc:sldChg>
      <pc:sldChg chg="del">
        <pc:chgData name="Sarah Lean" userId="60efe49c-fdb2-479d-bd36-260f4732f51a" providerId="ADAL" clId="{34A0B2A5-6D73-4B9A-9D02-55A10BA589BA}" dt="2019-07-26T10:18:45.222" v="139" actId="47"/>
        <pc:sldMkLst>
          <pc:docMk/>
          <pc:sldMk cId="1904744672" sldId="8450"/>
        </pc:sldMkLst>
      </pc:sldChg>
      <pc:sldChg chg="del">
        <pc:chgData name="Sarah Lean" userId="60efe49c-fdb2-479d-bd36-260f4732f51a" providerId="ADAL" clId="{34A0B2A5-6D73-4B9A-9D02-55A10BA589BA}" dt="2019-07-26T09:39:36.426" v="136" actId="47"/>
        <pc:sldMkLst>
          <pc:docMk/>
          <pc:sldMk cId="2411087061" sldId="8451"/>
        </pc:sldMkLst>
      </pc:sldChg>
      <pc:sldChg chg="add setBg">
        <pc:chgData name="Sarah Lean" userId="60efe49c-fdb2-479d-bd36-260f4732f51a" providerId="ADAL" clId="{34A0B2A5-6D73-4B9A-9D02-55A10BA589BA}" dt="2019-07-26T08:42:27.546" v="124"/>
        <pc:sldMkLst>
          <pc:docMk/>
          <pc:sldMk cId="2552028136" sldId="10673"/>
        </pc:sldMkLst>
      </pc:sldChg>
      <pc:sldChg chg="addSp delSp modSp add del ord setBg">
        <pc:chgData name="Sarah Lean" userId="60efe49c-fdb2-479d-bd36-260f4732f51a" providerId="ADAL" clId="{34A0B2A5-6D73-4B9A-9D02-55A10BA589BA}" dt="2019-07-31T08:35:12.949" v="284"/>
        <pc:sldMkLst>
          <pc:docMk/>
          <pc:sldMk cId="2534760270" sldId="11191"/>
        </pc:sldMkLst>
        <pc:spChg chg="del">
          <ac:chgData name="Sarah Lean" userId="60efe49c-fdb2-479d-bd36-260f4732f51a" providerId="ADAL" clId="{34A0B2A5-6D73-4B9A-9D02-55A10BA589BA}" dt="2019-07-31T08:31:02.951" v="153" actId="478"/>
          <ac:spMkLst>
            <pc:docMk/>
            <pc:sldMk cId="2534760270" sldId="11191"/>
            <ac:spMk id="4" creationId="{9E243E16-873B-4A78-97BA-E6DA5B0D719F}"/>
          </ac:spMkLst>
        </pc:spChg>
        <pc:spChg chg="del mod">
          <ac:chgData name="Sarah Lean" userId="60efe49c-fdb2-479d-bd36-260f4732f51a" providerId="ADAL" clId="{34A0B2A5-6D73-4B9A-9D02-55A10BA589BA}" dt="2019-07-31T08:31:02.963" v="155"/>
          <ac:spMkLst>
            <pc:docMk/>
            <pc:sldMk cId="2534760270" sldId="11191"/>
            <ac:spMk id="5" creationId="{49B459A6-26E4-4D0A-B72D-C0CF7B575364}"/>
          </ac:spMkLst>
        </pc:spChg>
        <pc:spChg chg="add">
          <ac:chgData name="Sarah Lean" userId="60efe49c-fdb2-479d-bd36-260f4732f51a" providerId="ADAL" clId="{34A0B2A5-6D73-4B9A-9D02-55A10BA589BA}" dt="2019-07-31T08:35:12.949" v="284"/>
          <ac:spMkLst>
            <pc:docMk/>
            <pc:sldMk cId="2534760270" sldId="11191"/>
            <ac:spMk id="28" creationId="{08CE8D25-D08C-43A7-A428-E732C91584B3}"/>
          </ac:spMkLst>
        </pc:spChg>
      </pc:sldChg>
      <pc:sldChg chg="addSp modSp add">
        <pc:chgData name="Sarah Lean" userId="60efe49c-fdb2-479d-bd36-260f4732f51a" providerId="ADAL" clId="{34A0B2A5-6D73-4B9A-9D02-55A10BA589BA}" dt="2019-07-31T16:11:08.096" v="310" actId="1076"/>
        <pc:sldMkLst>
          <pc:docMk/>
          <pc:sldMk cId="2512723646" sldId="2076136545"/>
        </pc:sldMkLst>
        <pc:spChg chg="mod">
          <ac:chgData name="Sarah Lean" userId="60efe49c-fdb2-479d-bd36-260f4732f51a" providerId="ADAL" clId="{34A0B2A5-6D73-4B9A-9D02-55A10BA589BA}" dt="2019-07-31T16:08:52.235" v="295" actId="207"/>
          <ac:spMkLst>
            <pc:docMk/>
            <pc:sldMk cId="2512723646" sldId="2076136545"/>
            <ac:spMk id="2" creationId="{A2D35117-0BD4-4FFF-AB7E-A82718CD961A}"/>
          </ac:spMkLst>
        </pc:spChg>
        <pc:spChg chg="add mod">
          <ac:chgData name="Sarah Lean" userId="60efe49c-fdb2-479d-bd36-260f4732f51a" providerId="ADAL" clId="{34A0B2A5-6D73-4B9A-9D02-55A10BA589BA}" dt="2019-07-31T16:11:08.096" v="310" actId="1076"/>
          <ac:spMkLst>
            <pc:docMk/>
            <pc:sldMk cId="2512723646" sldId="2076136545"/>
            <ac:spMk id="13" creationId="{622F12E6-1453-427A-8606-0C3EAB73905E}"/>
          </ac:spMkLst>
        </pc:spChg>
        <pc:spChg chg="mod">
          <ac:chgData name="Sarah Lean" userId="60efe49c-fdb2-479d-bd36-260f4732f51a" providerId="ADAL" clId="{34A0B2A5-6D73-4B9A-9D02-55A10BA589BA}" dt="2019-07-31T16:08:29.898" v="294" actId="207"/>
          <ac:spMkLst>
            <pc:docMk/>
            <pc:sldMk cId="2512723646" sldId="2076136545"/>
            <ac:spMk id="108" creationId="{DF3EDCA6-151B-4001-81D0-856E31D305F7}"/>
          </ac:spMkLst>
        </pc:spChg>
        <pc:spChg chg="mod">
          <ac:chgData name="Sarah Lean" userId="60efe49c-fdb2-479d-bd36-260f4732f51a" providerId="ADAL" clId="{34A0B2A5-6D73-4B9A-9D02-55A10BA589BA}" dt="2019-07-31T16:08:15.781" v="292" actId="207"/>
          <ac:spMkLst>
            <pc:docMk/>
            <pc:sldMk cId="2512723646" sldId="2076136545"/>
            <ac:spMk id="109" creationId="{A983B553-B6C3-4907-AEEB-83409A62B21F}"/>
          </ac:spMkLst>
        </pc:spChg>
        <pc:spChg chg="mod">
          <ac:chgData name="Sarah Lean" userId="60efe49c-fdb2-479d-bd36-260f4732f51a" providerId="ADAL" clId="{34A0B2A5-6D73-4B9A-9D02-55A10BA589BA}" dt="2019-07-31T16:08:55.620" v="297" actId="207"/>
          <ac:spMkLst>
            <pc:docMk/>
            <pc:sldMk cId="2512723646" sldId="2076136545"/>
            <ac:spMk id="112" creationId="{DF65DC3B-6971-46FD-8ED4-552A960BAABD}"/>
          </ac:spMkLst>
        </pc:spChg>
        <pc:spChg chg="mod">
          <ac:chgData name="Sarah Lean" userId="60efe49c-fdb2-479d-bd36-260f4732f51a" providerId="ADAL" clId="{34A0B2A5-6D73-4B9A-9D02-55A10BA589BA}" dt="2019-07-31T16:08:58.361" v="298" actId="207"/>
          <ac:spMkLst>
            <pc:docMk/>
            <pc:sldMk cId="2512723646" sldId="2076136545"/>
            <ac:spMk id="113" creationId="{AD94372A-0725-4E77-9CCD-4E6545C80CCB}"/>
          </ac:spMkLst>
        </pc:spChg>
        <pc:spChg chg="mod">
          <ac:chgData name="Sarah Lean" userId="60efe49c-fdb2-479d-bd36-260f4732f51a" providerId="ADAL" clId="{34A0B2A5-6D73-4B9A-9D02-55A10BA589BA}" dt="2019-07-31T16:09:02.329" v="299" actId="207"/>
          <ac:spMkLst>
            <pc:docMk/>
            <pc:sldMk cId="2512723646" sldId="2076136545"/>
            <ac:spMk id="117" creationId="{B40A8B63-8EF6-4C0B-B422-50CB7B845FE4}"/>
          </ac:spMkLst>
        </pc:spChg>
        <pc:spChg chg="mod">
          <ac:chgData name="Sarah Lean" userId="60efe49c-fdb2-479d-bd36-260f4732f51a" providerId="ADAL" clId="{34A0B2A5-6D73-4B9A-9D02-55A10BA589BA}" dt="2019-07-31T16:09:04.987" v="300" actId="207"/>
          <ac:spMkLst>
            <pc:docMk/>
            <pc:sldMk cId="2512723646" sldId="2076136545"/>
            <ac:spMk id="119" creationId="{DD9AAA94-1890-4A94-91FF-E4ADE61285FC}"/>
          </ac:spMkLst>
        </pc:spChg>
        <pc:spChg chg="mod">
          <ac:chgData name="Sarah Lean" userId="60efe49c-fdb2-479d-bd36-260f4732f51a" providerId="ADAL" clId="{34A0B2A5-6D73-4B9A-9D02-55A10BA589BA}" dt="2019-07-31T16:09:11.448" v="302" actId="207"/>
          <ac:spMkLst>
            <pc:docMk/>
            <pc:sldMk cId="2512723646" sldId="2076136545"/>
            <ac:spMk id="123" creationId="{4C1E83FC-7391-4E68-BD95-201F67DCF1E3}"/>
          </ac:spMkLst>
        </pc:spChg>
        <pc:spChg chg="add mod">
          <ac:chgData name="Sarah Lean" userId="60efe49c-fdb2-479d-bd36-260f4732f51a" providerId="ADAL" clId="{34A0B2A5-6D73-4B9A-9D02-55A10BA589BA}" dt="2019-07-31T16:09:20.746" v="305" actId="207"/>
          <ac:spMkLst>
            <pc:docMk/>
            <pc:sldMk cId="2512723646" sldId="2076136545"/>
            <ac:spMk id="126" creationId="{D3DF238C-05AE-447A-8080-F2751967119C}"/>
          </ac:spMkLst>
        </pc:spChg>
        <pc:spChg chg="mod">
          <ac:chgData name="Sarah Lean" userId="60efe49c-fdb2-479d-bd36-260f4732f51a" providerId="ADAL" clId="{34A0B2A5-6D73-4B9A-9D02-55A10BA589BA}" dt="2019-07-31T16:09:07.711" v="301" actId="207"/>
          <ac:spMkLst>
            <pc:docMk/>
            <pc:sldMk cId="2512723646" sldId="2076136545"/>
            <ac:spMk id="211" creationId="{CC8452DC-8EA8-470E-9B7B-91A357F6E50C}"/>
          </ac:spMkLst>
        </pc:spChg>
        <pc:spChg chg="mod">
          <ac:chgData name="Sarah Lean" userId="60efe49c-fdb2-479d-bd36-260f4732f51a" providerId="ADAL" clId="{34A0B2A5-6D73-4B9A-9D02-55A10BA589BA}" dt="2019-07-31T16:08:24.144" v="293" actId="207"/>
          <ac:spMkLst>
            <pc:docMk/>
            <pc:sldMk cId="2512723646" sldId="2076136545"/>
            <ac:spMk id="267" creationId="{D46A3950-BADD-45BD-B0CA-5E81AED1CA18}"/>
          </ac:spMkLst>
        </pc:spChg>
        <pc:spChg chg="mod">
          <ac:chgData name="Sarah Lean" userId="60efe49c-fdb2-479d-bd36-260f4732f51a" providerId="ADAL" clId="{34A0B2A5-6D73-4B9A-9D02-55A10BA589BA}" dt="2019-07-31T16:09:16.091" v="303" actId="207"/>
          <ac:spMkLst>
            <pc:docMk/>
            <pc:sldMk cId="2512723646" sldId="2076136545"/>
            <ac:spMk id="280" creationId="{7F11F82C-BC09-42E2-B0AA-1075B35A8AC2}"/>
          </ac:spMkLst>
        </pc:spChg>
        <pc:spChg chg="mod">
          <ac:chgData name="Sarah Lean" userId="60efe49c-fdb2-479d-bd36-260f4732f51a" providerId="ADAL" clId="{34A0B2A5-6D73-4B9A-9D02-55A10BA589BA}" dt="2019-07-31T16:09:23.635" v="306" actId="207"/>
          <ac:spMkLst>
            <pc:docMk/>
            <pc:sldMk cId="2512723646" sldId="2076136545"/>
            <ac:spMk id="281" creationId="{E88503DA-B4E2-4938-AE55-1FB8799246FE}"/>
          </ac:spMkLst>
        </pc:spChg>
        <pc:grpChg chg="mod">
          <ac:chgData name="Sarah Lean" userId="60efe49c-fdb2-479d-bd36-260f4732f51a" providerId="ADAL" clId="{34A0B2A5-6D73-4B9A-9D02-55A10BA589BA}" dt="2019-07-31T16:09:17.350" v="304" actId="571"/>
          <ac:grpSpMkLst>
            <pc:docMk/>
            <pc:sldMk cId="2512723646" sldId="2076136545"/>
            <ac:grpSpMk id="7" creationId="{6E9C013A-E858-4964-917A-3765487F58DF}"/>
          </ac:grpSpMkLst>
        </pc:grpChg>
        <pc:grpChg chg="mod">
          <ac:chgData name="Sarah Lean" userId="60efe49c-fdb2-479d-bd36-260f4732f51a" providerId="ADAL" clId="{34A0B2A5-6D73-4B9A-9D02-55A10BA589BA}" dt="2019-07-31T16:09:17.350" v="304" actId="571"/>
          <ac:grpSpMkLst>
            <pc:docMk/>
            <pc:sldMk cId="2512723646" sldId="2076136545"/>
            <ac:grpSpMk id="43" creationId="{D13FD57D-F9B5-4DC9-ADA3-0DEF83CB85B5}"/>
          </ac:grpSpMkLst>
        </pc:grpChg>
      </pc:sldChg>
      <pc:sldChg chg="addSp delSp modSp add del ord">
        <pc:chgData name="Sarah Lean" userId="60efe49c-fdb2-479d-bd36-260f4732f51a" providerId="ADAL" clId="{34A0B2A5-6D73-4B9A-9D02-55A10BA589BA}" dt="2019-07-31T08:35:08.832" v="282"/>
        <pc:sldMkLst>
          <pc:docMk/>
          <pc:sldMk cId="2749409799" sldId="2076136631"/>
        </pc:sldMkLst>
        <pc:spChg chg="del mod">
          <ac:chgData name="Sarah Lean" userId="60efe49c-fdb2-479d-bd36-260f4732f51a" providerId="ADAL" clId="{34A0B2A5-6D73-4B9A-9D02-55A10BA589BA}" dt="2019-07-31T08:30:18.816" v="151"/>
          <ac:spMkLst>
            <pc:docMk/>
            <pc:sldMk cId="2749409799" sldId="2076136631"/>
            <ac:spMk id="3" creationId="{2878792F-5CF9-45F3-8AC9-B4E7CBE1649E}"/>
          </ac:spMkLst>
        </pc:spChg>
        <pc:spChg chg="add">
          <ac:chgData name="Sarah Lean" userId="60efe49c-fdb2-479d-bd36-260f4732f51a" providerId="ADAL" clId="{34A0B2A5-6D73-4B9A-9D02-55A10BA589BA}" dt="2019-07-31T08:35:08.832" v="282"/>
          <ac:spMkLst>
            <pc:docMk/>
            <pc:sldMk cId="2749409799" sldId="2076136631"/>
            <ac:spMk id="68" creationId="{8742D578-E1FC-40B7-A75E-C07EDA56CA12}"/>
          </ac:spMkLst>
        </pc:spChg>
      </pc:sldChg>
      <pc:sldMasterChg chg="delSldLayout">
        <pc:chgData name="Sarah Lean" userId="60efe49c-fdb2-479d-bd36-260f4732f51a" providerId="ADAL" clId="{34A0B2A5-6D73-4B9A-9D02-55A10BA589BA}" dt="2019-07-26T09:39:26.567" v="135" actId="47"/>
        <pc:sldMasterMkLst>
          <pc:docMk/>
          <pc:sldMasterMk cId="1326167500" sldId="2147484983"/>
        </pc:sldMasterMkLst>
        <pc:sldLayoutChg chg="del">
          <pc:chgData name="Sarah Lean" userId="60efe49c-fdb2-479d-bd36-260f4732f51a" providerId="ADAL" clId="{34A0B2A5-6D73-4B9A-9D02-55A10BA589BA}" dt="2019-07-26T09:39:26.567" v="135" actId="47"/>
          <pc:sldLayoutMkLst>
            <pc:docMk/>
            <pc:sldMasterMk cId="1326167500" sldId="2147484983"/>
            <pc:sldLayoutMk cId="2703708045" sldId="2147486457"/>
          </pc:sldLayoutMkLst>
        </pc:sldLayoutChg>
      </pc:sldMasterChg>
      <pc:sldMasterChg chg="delSldLayout">
        <pc:chgData name="Sarah Lean" userId="60efe49c-fdb2-479d-bd36-260f4732f51a" providerId="ADAL" clId="{34A0B2A5-6D73-4B9A-9D02-55A10BA589BA}" dt="2019-07-26T09:39:36.426" v="136" actId="47"/>
        <pc:sldMasterMkLst>
          <pc:docMk/>
          <pc:sldMasterMk cId="717745479" sldId="2147485083"/>
        </pc:sldMasterMkLst>
        <pc:sldLayoutChg chg="del">
          <pc:chgData name="Sarah Lean" userId="60efe49c-fdb2-479d-bd36-260f4732f51a" providerId="ADAL" clId="{34A0B2A5-6D73-4B9A-9D02-55A10BA589BA}" dt="2019-07-26T09:39:36.426" v="136" actId="47"/>
          <pc:sldLayoutMkLst>
            <pc:docMk/>
            <pc:sldMasterMk cId="717745479" sldId="2147485083"/>
            <pc:sldLayoutMk cId="1110061870" sldId="2147486423"/>
          </pc:sldLayoutMkLst>
        </pc:sldLayoutChg>
      </pc:sldMasterChg>
      <pc:sldMasterChg chg="addSldLayout delSldLayout">
        <pc:chgData name="Sarah Lean" userId="60efe49c-fdb2-479d-bd36-260f4732f51a" providerId="ADAL" clId="{34A0B2A5-6D73-4B9A-9D02-55A10BA589BA}" dt="2019-07-31T08:29:56.403" v="147" actId="47"/>
        <pc:sldMasterMkLst>
          <pc:docMk/>
          <pc:sldMasterMk cId="1891827328" sldId="2147486003"/>
        </pc:sldMasterMkLst>
        <pc:sldLayoutChg chg="add del">
          <pc:chgData name="Sarah Lean" userId="60efe49c-fdb2-479d-bd36-260f4732f51a" providerId="ADAL" clId="{34A0B2A5-6D73-4B9A-9D02-55A10BA589BA}" dt="2019-07-31T08:29:56.403" v="147" actId="47"/>
          <pc:sldLayoutMkLst>
            <pc:docMk/>
            <pc:sldMasterMk cId="1891827328" sldId="2147486003"/>
            <pc:sldLayoutMk cId="3382661135" sldId="2147486022"/>
          </pc:sldLayoutMkLst>
        </pc:sldLayoutChg>
      </pc:sldMasterChg>
      <pc:sldMasterChg chg="delSldLayout">
        <pc:chgData name="Sarah Lean" userId="60efe49c-fdb2-479d-bd36-260f4732f51a" providerId="ADAL" clId="{34A0B2A5-6D73-4B9A-9D02-55A10BA589BA}" dt="2019-07-26T09:23:18.908" v="127" actId="47"/>
        <pc:sldMasterMkLst>
          <pc:docMk/>
          <pc:sldMasterMk cId="824082120" sldId="2147486326"/>
        </pc:sldMasterMkLst>
        <pc:sldLayoutChg chg="del">
          <pc:chgData name="Sarah Lean" userId="60efe49c-fdb2-479d-bd36-260f4732f51a" providerId="ADAL" clId="{34A0B2A5-6D73-4B9A-9D02-55A10BA589BA}" dt="2019-07-26T09:23:18.908" v="127" actId="47"/>
          <pc:sldLayoutMkLst>
            <pc:docMk/>
            <pc:sldMasterMk cId="824082120" sldId="2147486326"/>
            <pc:sldLayoutMk cId="1565830269" sldId="214748656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4383E56-42C7-42CC-A9C7-84B3EFA5B05E}" type="datetime8">
              <a:rPr lang="en-US" smtClean="0">
                <a:latin typeface="Segoe UI" pitchFamily="34" charset="0"/>
              </a:rPr>
              <a:t>7/31/2019 6:1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8AA75125-F80C-4A32-8E22-3696152C5BAD}" type="datetime8">
              <a:rPr lang="en-US" smtClean="0"/>
              <a:t>7/31/2019 6:1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zure.microsoft.com/en-us/free/services/azure-migrate/"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1060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goal is to enable successful Azure migration, regardless of what tool was used. </a:t>
            </a:r>
          </a:p>
          <a:p>
            <a:endParaRPr lang="en-US"/>
          </a:p>
          <a:p>
            <a:r>
              <a:rPr lang="en-US"/>
              <a:t>We have a great set of first party Azure tools that are built into the Azure portal and free to get started.  </a:t>
            </a:r>
          </a:p>
          <a:p>
            <a:endParaRPr lang="en-US"/>
          </a:p>
          <a:p>
            <a:r>
              <a:rPr lang="en-US"/>
              <a:t>But we also have a great set of third party tools to meet all your requirements.  For example: </a:t>
            </a:r>
            <a:r>
              <a:rPr lang="en-US" err="1"/>
              <a:t>Cloudamize</a:t>
            </a:r>
            <a:r>
              <a:rPr lang="en-US"/>
              <a:t>, Movere, </a:t>
            </a:r>
            <a:r>
              <a:rPr lang="en-US" err="1"/>
              <a:t>Turbonomic</a:t>
            </a:r>
            <a:r>
              <a:rPr lang="en-US"/>
              <a:t>, TSO Logic can discover a broader set of environments than Azure Migrate does today.   Similarly, tools like </a:t>
            </a:r>
            <a:r>
              <a:rPr lang="en-US" err="1"/>
              <a:t>Zerto</a:t>
            </a:r>
            <a:r>
              <a:rPr lang="en-US"/>
              <a:t> and Cloud Endure can migrate a broader set of </a:t>
            </a:r>
            <a:r>
              <a:rPr lang="en-US" err="1"/>
              <a:t>OS’es</a:t>
            </a:r>
            <a:r>
              <a:rPr lang="en-US"/>
              <a:t> to Azure as compared to Azure Site Recovery.  </a:t>
            </a:r>
          </a:p>
          <a:p>
            <a:endParaRPr lang="en-US"/>
          </a:p>
          <a:p>
            <a:r>
              <a:rPr lang="en-US"/>
              <a:t>We’re also working closely with the ecosystem to build out a unified experience across Azure and 3</a:t>
            </a:r>
            <a:r>
              <a:rPr lang="en-US" baseline="30000"/>
              <a:t>rd</a:t>
            </a:r>
            <a:r>
              <a:rPr lang="en-US"/>
              <a:t> party tools.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320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8CDBB17-5FFE-424D-99F0-FA943CFE7BA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6: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D34868D-D30B-4CF2-B26E-FC9B9D09D873}"/>
              </a:ext>
            </a:extLst>
          </p:cNvPr>
          <p:cNvSpPr>
            <a:spLocks noGrp="1"/>
          </p:cNvSpPr>
          <p:nvPr>
            <p:ph type="body" idx="1"/>
          </p:nvPr>
        </p:nvSpPr>
        <p:spPr/>
        <p:txBody>
          <a:bodyPr/>
          <a:lstStyle/>
          <a:p>
            <a:r>
              <a:rPr lang="en-US"/>
              <a:t>Azure governance consists of 5 capabilities (Policy, Blueprints, Resource Graph, Management Group, Cost Management) to ensure you will have the right tools for your applications or workload teams, so they can use cloud resources in an accountable &amp; responsible fashion.</a:t>
            </a:r>
          </a:p>
          <a:p>
            <a:endParaRPr lang="en-US"/>
          </a:p>
        </p:txBody>
      </p:sp>
    </p:spTree>
    <p:extLst>
      <p:ext uri="{BB962C8B-B14F-4D97-AF65-F5344CB8AC3E}">
        <p14:creationId xmlns:p14="http://schemas.microsoft.com/office/powerpoint/2010/main" val="14217507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Let us now transition to the Optimize phase in the Azure migration journey. </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endParaRPr>
          </a:p>
          <a:p>
            <a:r>
              <a:rPr lang="en-US" sz="882" kern="1200">
                <a:solidFill>
                  <a:schemeClr val="tx1"/>
                </a:solidFill>
                <a:effectLst/>
                <a:latin typeface="Segoe UI Light" pitchFamily="34" charset="0"/>
                <a:ea typeface="+mn-ea"/>
                <a:cs typeface="+mn-cs"/>
              </a:rPr>
              <a:t>Many customers look to the cloud to gain operational efficiencies and cost savings. With Azure Cost Management , customers can now manage their cloud spend in a unified experience, and leverage built-in best practice recommendations (e.g., turning off idle VMs) to drive operational efficiency.  They can apply Azure Hybrid Benefit and Azure Reserved Instances during or after migration for big savings.  </a:t>
            </a:r>
          </a:p>
          <a:p>
            <a:r>
              <a:rPr lang="en-US" sz="882" kern="1200">
                <a:solidFill>
                  <a:schemeClr val="tx1"/>
                </a:solidFill>
                <a:effectLst/>
                <a:latin typeface="Segoe UI Light" pitchFamily="34" charset="0"/>
                <a:ea typeface="+mn-ea"/>
                <a:cs typeface="+mn-cs"/>
              </a:rPr>
              <a:t> Link to blog</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DECE441-E760-453B-85F3-482D7C51B0D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6: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15413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5 things that are key elements to drive a successful migration project.  </a:t>
            </a:r>
          </a:p>
          <a:p>
            <a:endParaRPr lang="en-US"/>
          </a:p>
          <a:p>
            <a:r>
              <a:rPr lang="en-US"/>
              <a:t>We already spoke about tools so I will touch on the others.  Lots of resources linked here for offline </a:t>
            </a:r>
            <a:r>
              <a:rPr lang="en-US" err="1"/>
              <a:t>stufy</a:t>
            </a:r>
            <a:r>
              <a:rPr lang="en-US"/>
              <a: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EABF823-045E-4129-8065-BB5EC67837D5}" type="datetime8">
              <a:rPr lang="en-US" smtClean="0"/>
              <a:t>7/31/2019 6:1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233289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a:t>
            </a:r>
            <a:r>
              <a:rPr lang="en-US" err="1"/>
              <a:t>migation</a:t>
            </a:r>
            <a:r>
              <a:rPr lang="en-US"/>
              <a:t> center is your one stop destination for all things migration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D1B9CEE-0CF7-4886-9FE5-E3FDF6583BD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6: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0588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71134B5-43E4-4C24-B3BE-D4113621C329}" type="slidenum">
              <a:rPr lang="en-GB" smtClean="0"/>
              <a:t>19</a:t>
            </a:fld>
            <a:endParaRPr lang="en-GB"/>
          </a:p>
        </p:txBody>
      </p:sp>
    </p:spTree>
    <p:extLst>
      <p:ext uri="{BB962C8B-B14F-4D97-AF65-F5344CB8AC3E}">
        <p14:creationId xmlns:p14="http://schemas.microsoft.com/office/powerpoint/2010/main" val="3964208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The Azure Migration Program </a:t>
            </a:r>
            <a:r>
              <a:rPr lang="en-US" sz="900" kern="120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900" b="1" kern="1200">
                <a:solidFill>
                  <a:schemeClr val="tx1"/>
                </a:solidFill>
                <a:effectLst/>
                <a:latin typeface="Segoe UI Light" pitchFamily="34" charset="0"/>
                <a:ea typeface="+mn-ea"/>
                <a:cs typeface="+mn-cs"/>
              </a:rPr>
              <a:t>Technical skill building</a:t>
            </a:r>
            <a:r>
              <a:rPr lang="en-US" sz="900" kern="1200">
                <a:solidFill>
                  <a:schemeClr val="tx1"/>
                </a:solidFill>
                <a:effectLst/>
                <a:latin typeface="Segoe UI Light" pitchFamily="34" charset="0"/>
                <a:ea typeface="+mn-ea"/>
                <a:cs typeface="+mn-cs"/>
              </a:rPr>
              <a:t> to ensure your organization can successfully adopt Azure</a:t>
            </a:r>
          </a:p>
          <a:p>
            <a:pPr marL="171450" indent="-171450" fontAlgn="base">
              <a:buFont typeface="Arial" panose="020B0604020202020204" pitchFamily="34" charset="0"/>
              <a:buChar char="•"/>
            </a:pPr>
            <a:r>
              <a:rPr lang="en-US" sz="900" kern="1200">
                <a:solidFill>
                  <a:schemeClr val="tx1"/>
                </a:solidFill>
                <a:effectLst/>
                <a:latin typeface="Segoe UI Light" pitchFamily="34" charset="0"/>
                <a:ea typeface="+mn-ea"/>
                <a:cs typeface="+mn-cs"/>
              </a:rPr>
              <a:t>Best practices for a step by step approach from start to finish</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Azure engineering support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Free Azure tools </a:t>
            </a:r>
            <a:r>
              <a:rPr lang="en-US" sz="900" kern="1200">
                <a:solidFill>
                  <a:schemeClr val="tx1"/>
                </a:solidFill>
                <a:effectLst/>
                <a:latin typeface="Segoe UI Light" pitchFamily="34" charset="0"/>
                <a:ea typeface="+mn-ea"/>
                <a:cs typeface="+mn-cs"/>
              </a:rPr>
              <a:t>to help you efficiently execute migrations</a:t>
            </a:r>
            <a:r>
              <a:rPr lang="en-US" sz="900" b="1" kern="120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900" b="1" kern="1200">
                <a:solidFill>
                  <a:schemeClr val="tx1"/>
                </a:solidFill>
                <a:effectLst/>
                <a:latin typeface="Segoe UI Light" pitchFamily="34" charset="0"/>
                <a:ea typeface="+mn-ea"/>
                <a:cs typeface="+mn-cs"/>
              </a:rPr>
              <a:t>And cost effective offers</a:t>
            </a:r>
            <a:r>
              <a:rPr lang="en-US" sz="900" kern="1200">
                <a:solidFill>
                  <a:schemeClr val="tx1"/>
                </a:solidFill>
                <a:effectLst/>
                <a:latin typeface="Segoe UI Light" pitchFamily="34" charset="0"/>
                <a:ea typeface="+mn-ea"/>
                <a:cs typeface="+mn-cs"/>
              </a:rPr>
              <a:t> to help you save money before, during, and after migration </a:t>
            </a:r>
            <a:endParaRPr lang="en-US">
              <a:effectLst/>
            </a:endParaRPr>
          </a:p>
          <a:p>
            <a:pPr marL="0" marR="0" lvl="0" indent="0" algn="l" defTabSz="932742" rtl="0" eaLnBrk="1" fontAlgn="base" latinLnBrk="0" hangingPunct="1">
              <a:lnSpc>
                <a:spcPct val="90000"/>
              </a:lnSpc>
              <a:spcBef>
                <a:spcPts val="0"/>
              </a:spcBef>
              <a:spcAft>
                <a:spcPts val="340"/>
              </a:spcAft>
              <a:buClrTx/>
              <a:buSzTx/>
              <a:buFontTx/>
              <a:buNone/>
              <a:tabLst/>
              <a:defRPr/>
            </a:pPr>
            <a:endParaRPr lang="en-US">
              <a:effectLst/>
            </a:endParaRPr>
          </a:p>
          <a:p>
            <a:pPr fontAlgn="base"/>
            <a:endParaRPr lang="en-US" sz="900" kern="1200">
              <a:solidFill>
                <a:schemeClr val="tx1"/>
              </a:solidFill>
              <a:effectLst/>
              <a:latin typeface="Segoe UI Light" pitchFamily="34" charset="0"/>
              <a:ea typeface="+mn-ea"/>
              <a:cs typeface="+mn-cs"/>
            </a:endParaRPr>
          </a:p>
          <a:p>
            <a:pPr fontAlgn="base"/>
            <a:r>
              <a:rPr lang="en-US" sz="900" kern="1200">
                <a:solidFill>
                  <a:schemeClr val="tx1"/>
                </a:solidFill>
                <a:effectLst/>
                <a:latin typeface="Segoe UI Light" pitchFamily="34" charset="0"/>
                <a:ea typeface="+mn-ea"/>
                <a:cs typeface="+mn-cs"/>
              </a:rPr>
              <a:t> </a:t>
            </a:r>
          </a:p>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30623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Azure Migrate or Partner tools to get inventory</a:t>
            </a:r>
          </a:p>
          <a:p>
            <a:r>
              <a:rPr lang="en-US"/>
              <a:t>&lt;click&gt;</a:t>
            </a:r>
          </a:p>
          <a:p>
            <a:r>
              <a:rPr lang="en-US"/>
              <a:t>Use a true inventory when calculating the costs.  Don’t guess!</a:t>
            </a:r>
          </a:p>
          <a:p>
            <a:r>
              <a:rPr lang="en-US"/>
              <a:t>&lt;click&gt;</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t>Calculate the TCO.  Make sure to look at licensing and leverage Hyper use Benefits for Windows and SQL along with Reserved Instance to save up to 80% on cloud spend.</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852503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6955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patterns: </a:t>
            </a:r>
          </a:p>
          <a:p>
            <a:endParaRPr lang="en-US" b="1"/>
          </a:p>
          <a:p>
            <a:r>
              <a:rPr lang="en-US">
                <a:effectLst/>
              </a:rPr>
              <a:t>Look for and listen deeply to your customers’ migration/modernization triggers.  That will help you position appropriate urgency around migration.  </a:t>
            </a:r>
          </a:p>
          <a:p>
            <a:endParaRPr lang="en-US">
              <a:effectLst/>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a:effectLst/>
              </a:rPr>
              <a:t>Situations like end of support, DC lease expiry, acquisition integration signal time-bound deadlines. </a:t>
            </a:r>
            <a:r>
              <a:rPr lang="en-US" b="1"/>
              <a:t> </a:t>
            </a:r>
          </a:p>
          <a:p>
            <a:endParaRPr lang="en-US">
              <a:effectLst/>
            </a:endParaRPr>
          </a:p>
          <a:p>
            <a:r>
              <a:rPr lang="en-US">
                <a:effectLst/>
              </a:rPr>
              <a:t>App innovation might be tops down driven and needs to be dealt with strategically.  </a:t>
            </a:r>
            <a:r>
              <a:rPr lang="en-US" b="1"/>
              <a:t> </a:t>
            </a: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362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D4E793A-18CA-4821-8146-3459784A1202}" type="slidenum">
              <a:rPr lang="en-GB" smtClean="0"/>
              <a:t>4</a:t>
            </a:fld>
            <a:endParaRPr lang="en-GB"/>
          </a:p>
        </p:txBody>
      </p:sp>
    </p:spTree>
    <p:extLst>
      <p:ext uri="{BB962C8B-B14F-4D97-AF65-F5344CB8AC3E}">
        <p14:creationId xmlns:p14="http://schemas.microsoft.com/office/powerpoint/2010/main" val="769823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7153" lvl="1" indent="0">
              <a:buNone/>
            </a:pPr>
            <a:r>
              <a:rPr lang="en-US" sz="900" b="0" kern="1200">
                <a:solidFill>
                  <a:schemeClr val="tx1"/>
                </a:solidFill>
                <a:effectLst/>
                <a:latin typeface="Segoe UI Light" pitchFamily="34" charset="0"/>
                <a:ea typeface="+mn-ea"/>
                <a:cs typeface="+mn-cs"/>
              </a:rPr>
              <a:t>Now I am going to touch on a specific migration trigger which is also a area of differentiation vs. AWS.  </a:t>
            </a:r>
          </a:p>
          <a:p>
            <a:pPr marL="107153" lvl="1" indent="0">
              <a:buNone/>
            </a:pPr>
            <a:endParaRPr lang="en-US" sz="900" b="0" kern="1200">
              <a:solidFill>
                <a:schemeClr val="tx1"/>
              </a:solidFill>
              <a:effectLst/>
              <a:latin typeface="Segoe UI Light" pitchFamily="34" charset="0"/>
              <a:ea typeface="+mn-ea"/>
              <a:cs typeface="+mn-cs"/>
            </a:endParaRPr>
          </a:p>
          <a:p>
            <a:pPr marL="107153" lvl="1" indent="0">
              <a:buNone/>
            </a:pPr>
            <a:r>
              <a:rPr lang="en-US" sz="900" b="0" kern="1200">
                <a:solidFill>
                  <a:schemeClr val="tx1"/>
                </a:solidFill>
                <a:effectLst/>
                <a:latin typeface="Segoe UI Light" pitchFamily="34" charset="0"/>
                <a:ea typeface="+mn-ea"/>
                <a:cs typeface="+mn-cs"/>
              </a:rPr>
              <a:t>WS/SQL EOS migration. Migrating WS/SQL is a very critical motion and we shouldn’t lose any of our workloads to AWS. </a:t>
            </a:r>
          </a:p>
          <a:p>
            <a:pPr marL="107153" lvl="1" indent="0">
              <a:buNone/>
            </a:pPr>
            <a:endParaRPr lang="en-US" sz="900" b="0" kern="1200">
              <a:solidFill>
                <a:schemeClr val="tx1"/>
              </a:solidFill>
              <a:effectLst/>
              <a:latin typeface="Segoe UI Light" pitchFamily="34" charset="0"/>
              <a:ea typeface="+mn-ea"/>
              <a:cs typeface="+mn-cs"/>
            </a:endParaRPr>
          </a:p>
          <a:p>
            <a:pPr marL="107153" lvl="1" indent="0">
              <a:buNone/>
            </a:pPr>
            <a:r>
              <a:rPr lang="en-US" sz="900" b="0" kern="1200">
                <a:solidFill>
                  <a:schemeClr val="tx1"/>
                </a:solidFill>
                <a:effectLst/>
                <a:latin typeface="Segoe UI Light" pitchFamily="34" charset="0"/>
                <a:ea typeface="+mn-ea"/>
                <a:cs typeface="+mn-cs"/>
              </a:rPr>
              <a:t>Think of this as a door opener or conversation starter (time bound and we have AWS differentiation)</a:t>
            </a:r>
          </a:p>
          <a:p>
            <a:pPr marL="107153" lvl="1" indent="0">
              <a:buNone/>
            </a:pPr>
            <a:endParaRPr lang="en-US" sz="900" b="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1C0E2F7-B11D-419B-BAD0-C1F8CB7FEB1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6: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86154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900" b="1">
                <a:solidFill>
                  <a:srgbClr val="0068BB"/>
                </a:solidFill>
                <a:highlight>
                  <a:srgbClr val="FFFF00"/>
                </a:highlight>
              </a:rPr>
              <a:t>***Remove the “Learn more” row on the slide when you present to customers – that is an internal reference for you.**</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0">
              <a:solidFill>
                <a:srgbClr val="0068BB"/>
              </a:solidFill>
              <a:highlight>
                <a:srgbClr val="FFFF00"/>
              </a:highlight>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a:solidFill>
                  <a:srgbClr val="0068BB"/>
                </a:solidFill>
              </a:rPr>
              <a:t>We also heard that you need proof of our workloads run better on AWS vs. Azure.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0">
              <a:solidFill>
                <a:srgbClr val="0068BB"/>
              </a:solidFill>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a:solidFill>
                  <a:srgbClr val="0068BB"/>
                </a:solidFill>
              </a:rPr>
              <a:t>We are unequivocally the best for WS/Azure hybrid experiences.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0">
              <a:solidFill>
                <a:srgbClr val="0068BB"/>
              </a:solidFill>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a:solidFill>
                  <a:srgbClr val="0068BB"/>
                </a:solidFill>
              </a:rPr>
              <a:t>We are unparalleled in the level of consistency and compatibility that MI offers for SQL Servers.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0">
              <a:solidFill>
                <a:srgbClr val="0068BB"/>
              </a:solidFill>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a:solidFill>
                  <a:srgbClr val="0068BB"/>
                </a:solidFill>
              </a:rPr>
              <a:t>Finally, don’t underestimate the trust and relationships that we as Microsoft have with enterprise customers.  AWS would kill to have that.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0">
              <a:solidFill>
                <a:srgbClr val="0068BB"/>
              </a:solidFill>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a:solidFill>
                  <a:srgbClr val="0068BB"/>
                </a:solidFill>
              </a:rPr>
              <a:t> </a:t>
            </a:r>
          </a:p>
          <a:p>
            <a:endParaRPr lang="en-US" sz="900" b="1"/>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900" b="0">
              <a:solidFill>
                <a:srgbClr val="0068BB"/>
              </a:solidFill>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C4744A3-3771-4556-898E-E777EB2586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7/31/2019 6: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435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se are the Azure migration scenarios and associated technologies.  These scenarios are based off of an industry standard framework. </a:t>
            </a:r>
          </a:p>
          <a:p>
            <a:endParaRPr lang="en-US">
              <a:cs typeface="Calibri"/>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a:cs typeface="Calibri"/>
              </a:rPr>
              <a:t>Rehost: </a:t>
            </a:r>
            <a:r>
              <a:rPr kumimoji="0" lang="en-US" sz="900" b="0" i="0" u="none" strike="noStrike" kern="0" cap="none" spc="0" normalizeH="0" baseline="0" noProof="0">
                <a:ln>
                  <a:noFill/>
                </a:ln>
                <a:solidFill>
                  <a:srgbClr val="0078D7"/>
                </a:solidFill>
                <a:effectLst/>
                <a:uLnTx/>
                <a:uFillTx/>
                <a:latin typeface="Segoe UI Semibold" charset="0"/>
                <a:ea typeface="+mn-ea"/>
                <a:cs typeface="Segoe UI Semibold" charset="0"/>
              </a:rPr>
              <a:t>Redeploy as-is to cloud; used for quick ROI, freeing up DC space, least effort. IaaS is the key tech her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a:cs typeface="Calibri"/>
              </a:rPr>
              <a:t>Refactor: </a:t>
            </a:r>
            <a:r>
              <a:rPr kumimoji="0" lang="en-US" sz="900" b="0" i="0" u="none" strike="noStrike" kern="0" cap="none" spc="0" normalizeH="0" baseline="0" noProof="0">
                <a:ln>
                  <a:noFill/>
                </a:ln>
                <a:solidFill>
                  <a:srgbClr val="0078D7"/>
                </a:solidFill>
                <a:effectLst/>
                <a:uLnTx/>
                <a:uFillTx/>
                <a:latin typeface="Segoe UI Semibold" charset="0"/>
                <a:ea typeface="+mn-ea"/>
                <a:cs typeface="Segoe UI Semibold" charset="0"/>
              </a:rPr>
              <a:t>Minimally alter to take better advantage of cloud; used for code portability and quick updates.  Containers and PaaS are the key tech her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a:cs typeface="Calibri"/>
              </a:rPr>
              <a:t>Rearchitect:</a:t>
            </a:r>
            <a:r>
              <a:rPr lang="en-US" b="0">
                <a:cs typeface="Calibri"/>
              </a:rPr>
              <a:t> </a:t>
            </a:r>
            <a:r>
              <a:rPr kumimoji="0" lang="en-US" sz="900" b="0" i="0" u="none" strike="noStrike" kern="0" cap="none" spc="-30" normalizeH="0" baseline="0" noProof="0">
                <a:ln>
                  <a:noFill/>
                </a:ln>
                <a:solidFill>
                  <a:srgbClr val="0078D7"/>
                </a:solidFill>
                <a:effectLst/>
                <a:uLnTx/>
                <a:uFillTx/>
                <a:latin typeface="Segoe UI Semibold" charset="0"/>
                <a:ea typeface="+mn-ea"/>
                <a:cs typeface="Segoe UI Semibold" charset="0"/>
              </a:rPr>
              <a:t>Materially alter/decompose application to services; to enhance app scale and agility.  PaaS, Serverless and Microservices are key tech her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1">
                <a:cs typeface="Calibri"/>
              </a:rPr>
              <a:t>Rebuild:</a:t>
            </a:r>
            <a:r>
              <a:rPr lang="en-US" b="0">
                <a:cs typeface="Calibri"/>
              </a:rPr>
              <a:t> </a:t>
            </a:r>
            <a:r>
              <a:rPr kumimoji="0" lang="en-US" sz="900" b="0" i="0" u="none" strike="noStrike" kern="0" cap="none" spc="0" normalizeH="0" baseline="0" noProof="0">
                <a:ln>
                  <a:noFill/>
                </a:ln>
                <a:solidFill>
                  <a:srgbClr val="0078D7"/>
                </a:solidFill>
                <a:effectLst/>
                <a:uLnTx/>
                <a:uFillTx/>
                <a:latin typeface="Segoe UI Semibold" charset="0"/>
                <a:ea typeface="+mn-ea"/>
                <a:cs typeface="Segoe UI Semibold" charset="0"/>
              </a:rPr>
              <a:t>New code written with cloud native approach; to accelerate innovation and build apps faster. </a:t>
            </a:r>
            <a:r>
              <a:rPr kumimoji="0" lang="en-US" sz="900" b="0" i="0" u="none" strike="noStrike" kern="0" cap="none" spc="-30" normalizeH="0" baseline="0" noProof="0">
                <a:ln>
                  <a:noFill/>
                </a:ln>
                <a:solidFill>
                  <a:srgbClr val="0078D7"/>
                </a:solidFill>
                <a:effectLst/>
                <a:uLnTx/>
                <a:uFillTx/>
                <a:latin typeface="Segoe UI Semibold" charset="0"/>
                <a:ea typeface="+mn-ea"/>
                <a:cs typeface="Segoe UI Semibold" charset="0"/>
              </a:rPr>
              <a:t>PaaS, Serverless and Microservices are key tech here. </a:t>
            </a:r>
            <a:r>
              <a:rPr kumimoji="0" lang="en-US" sz="900" b="0" i="0" u="none" strike="noStrike" kern="0" cap="none" spc="0" normalizeH="0" baseline="0" noProof="0">
                <a:ln>
                  <a:noFill/>
                </a:ln>
                <a:solidFill>
                  <a:srgbClr val="0078D7"/>
                </a:solidFill>
                <a:effectLst/>
                <a:uLnTx/>
                <a:uFillTx/>
                <a:latin typeface="Segoe UI Semibold" charset="0"/>
                <a:ea typeface="+mn-ea"/>
                <a:cs typeface="Segoe UI Semibold" charset="0"/>
              </a:rPr>
              <a:t> </a:t>
            </a:r>
          </a:p>
          <a:p>
            <a:pPr marL="171450" indent="-171450">
              <a:buFont typeface="Arial" panose="020B0604020202020204" pitchFamily="34" charset="0"/>
              <a:buChar char="•"/>
            </a:pPr>
            <a:endParaRPr lang="en-US">
              <a:cs typeface="Calibri"/>
            </a:endParaRPr>
          </a:p>
          <a:p>
            <a:pPr marL="171450" indent="-171450">
              <a:buFont typeface="Arial" panose="020B0604020202020204" pitchFamily="34" charset="0"/>
              <a:buChar char="•"/>
            </a:pPr>
            <a:endParaRPr lang="en-US">
              <a:cs typeface="Calibri"/>
            </a:endParaRPr>
          </a:p>
          <a:p>
            <a:pPr marL="171450" indent="-171450">
              <a:buFont typeface="Arial" panose="020B0604020202020204" pitchFamily="34" charset="0"/>
              <a:buChar char="•"/>
            </a:pPr>
            <a:endParaRPr lang="en-US">
              <a:cs typeface="Calibri"/>
            </a:endParaRPr>
          </a:p>
          <a:p>
            <a:pPr marL="171450" indent="-171450">
              <a:buFont typeface="Arial" panose="020B0604020202020204" pitchFamily="34" charset="0"/>
              <a:buChar char="•"/>
            </a:pPr>
            <a:endParaRPr lang="en-US">
              <a:cs typeface="Calibri"/>
            </a:endParaRPr>
          </a:p>
          <a:p>
            <a:pPr marL="171450" indent="-171450">
              <a:buFont typeface="Arial" panose="020B0604020202020204" pitchFamily="34" charset="0"/>
              <a:buChar char="•"/>
            </a:pPr>
            <a:endParaRPr lang="en-US">
              <a:cs typeface="Calibri"/>
            </a:endParaRPr>
          </a:p>
          <a:p>
            <a:pPr marL="171450" indent="-171450">
              <a:buFont typeface="Arial" panose="020B0604020202020204" pitchFamily="34" charset="0"/>
              <a:buChar char="•"/>
            </a:pPr>
            <a:endParaRPr lang="en-US">
              <a:cs typeface="Calibri"/>
            </a:endParaRPr>
          </a:p>
          <a:p>
            <a:pPr marL="171450" indent="-171450">
              <a:buFont typeface="Arial" panose="020B0604020202020204" pitchFamily="34" charset="0"/>
              <a:buChar char="•"/>
            </a:pPr>
            <a:endParaRPr lang="en-US">
              <a:cs typeface="Calibri"/>
            </a:endParaRPr>
          </a:p>
          <a:p>
            <a:endParaRPr lang="en-US"/>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E98211DB-2226-449B-9191-02E9EC98942B}" type="datetime8">
              <a:rPr kumimoji="0" lang="en-US" sz="3400" b="0" i="0" u="none" strike="noStrike" kern="1200" cap="none" spc="0" normalizeH="0" baseline="0" noProof="0" smtClean="0">
                <a:ln>
                  <a:noFill/>
                </a:ln>
                <a:solidFill>
                  <a:prstClr val="black"/>
                </a:solidFill>
                <a:effectLst/>
                <a:uLnTx/>
                <a:uFillTx/>
                <a:latin typeface="Segoe UI" pitchFamily="34" charset="0"/>
                <a:ea typeface="+mn-ea"/>
                <a:cs typeface="+mn-cs"/>
              </a:rPr>
              <a:t>7/31/2019 6:16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8</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4955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next question you may have is – can you get specific on what are some of the common projects that we’ve come across?  </a:t>
            </a:r>
          </a:p>
          <a:p>
            <a:endParaRPr lang="en-US"/>
          </a:p>
          <a:p>
            <a:r>
              <a:rPr lang="en-US"/>
              <a:t>The first row and Linux are more high volume tranches…but SAP and HPC are specialized yet Strategic. </a:t>
            </a:r>
          </a:p>
          <a:p>
            <a:endParaRPr lang="en-US"/>
          </a:p>
          <a:p>
            <a:r>
              <a:rPr lang="en-US"/>
              <a:t>Still with m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BA429285-5014-488A-B932-5A4777C279B8}" type="datetime8">
              <a:rPr lang="en-US" smtClean="0"/>
              <a:t>7/31/2019 6:1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160319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a:t>What do we mean when we say “modern infrastructure”?</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Azure IaaS offers a purpose-built IT infrastructure designed to fit your company’s needs, rather than the other way around</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This is accomplished through utilizing the experience we’ve gained in a 300,000-plus partner global ecosystem, which is 5 times greater than Google’s partner network. </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Microsoft also has deep experience with many different kinds of industries</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Our global data centers offer you support for all your applications when and where you need it</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We are differentiated from our competitors by offering a first-class experience that has been recognized by such partner certifications as SAP and Red Hat</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a:gradFill>
                  <a:gsLst>
                    <a:gs pos="0">
                      <a:srgbClr val="FFFFFF"/>
                    </a:gs>
                    <a:gs pos="100000">
                      <a:srgbClr val="FFFFFF"/>
                    </a:gs>
                  </a:gsLst>
                  <a:lin ang="5400000" scaled="0"/>
                </a:gradFill>
                <a:latin typeface="Segoe UI"/>
                <a:ea typeface="Segoe UI" pitchFamily="34" charset="0"/>
                <a:cs typeface="Segoe UI" pitchFamily="34" charset="0"/>
              </a:rPr>
              <a:t>And we can tailor our support for any specialized needs you may have—regardless of whether you are managing on-premises, hybrid, or cloud-only infrastructures</a:t>
            </a:r>
          </a:p>
          <a:p>
            <a:pPr marL="349415" indent="-349415" defTabSz="950189" fontAlgn="base">
              <a:lnSpc>
                <a:spcPct val="90000"/>
              </a:lnSpc>
              <a:spcBef>
                <a:spcPct val="0"/>
              </a:spcBef>
              <a:spcAft>
                <a:spcPct val="0"/>
              </a:spcAft>
              <a:buFont typeface="Arial" panose="020B0604020202020204" pitchFamily="34" charset="0"/>
              <a:buChar char="•"/>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r>
              <a:rPr lang="en-US" sz="1400" b="1" kern="0">
                <a:gradFill>
                  <a:gsLst>
                    <a:gs pos="0">
                      <a:srgbClr val="FFFFFF"/>
                    </a:gs>
                    <a:gs pos="100000">
                      <a:srgbClr val="FFFFFF"/>
                    </a:gs>
                  </a:gsLst>
                  <a:lin ang="5400000" scaled="0"/>
                </a:gradFill>
                <a:latin typeface="Segoe UI"/>
                <a:ea typeface="Segoe UI" pitchFamily="34" charset="0"/>
                <a:cs typeface="Segoe UI" pitchFamily="34" charset="0"/>
              </a:rPr>
              <a:t>Purpose-built infrastructure</a:t>
            </a:r>
          </a:p>
          <a:p>
            <a:r>
              <a:rPr lang="en-US" sz="1400"/>
              <a:t>A combination of virtual machines and purpose-built large instances provides the largest scale and widest range for your workloads.</a:t>
            </a:r>
          </a:p>
          <a:p>
            <a:endParaRPr lang="en-US" sz="1400"/>
          </a:p>
          <a:p>
            <a:r>
              <a:rPr lang="en-US" sz="1400"/>
              <a:t>With an on-demand infrastructure, you and leverage per-minute billing and scale your CPU and RAM usage up or down based on your application workloads. </a:t>
            </a:r>
          </a:p>
          <a:p>
            <a:endParaRPr lang="en-US" sz="1400"/>
          </a:p>
          <a:p>
            <a:r>
              <a:rPr lang="en-US" sz="1400"/>
              <a:t>However, for large instances, on-demand infrastructure can be cost prohibitive. That’s why Azure offers purpose-built infrastructures, which allow you to customize your infrastructure based on your specific workload needs.</a:t>
            </a:r>
          </a:p>
          <a:p>
            <a:pPr defTabSz="950189" fontAlgn="base">
              <a:lnSpc>
                <a:spcPct val="90000"/>
              </a:lnSpc>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r>
              <a:rPr lang="en-US" sz="1400" b="1" kern="0">
                <a:gradFill>
                  <a:gsLst>
                    <a:gs pos="0">
                      <a:srgbClr val="FFFFFF"/>
                    </a:gs>
                    <a:gs pos="100000">
                      <a:srgbClr val="FFFFFF"/>
                    </a:gs>
                  </a:gsLst>
                  <a:lin ang="5400000" scaled="0"/>
                </a:gradFill>
                <a:latin typeface="Segoe UI"/>
                <a:ea typeface="Segoe UI" pitchFamily="34" charset="0"/>
                <a:cs typeface="Segoe UI" pitchFamily="34" charset="0"/>
              </a:rPr>
              <a:t>Linux and Open Source</a:t>
            </a:r>
          </a:p>
          <a:p>
            <a:pPr defTabSz="950189" fontAlgn="base">
              <a:lnSpc>
                <a:spcPct val="90000"/>
              </a:lnSpc>
              <a:spcBef>
                <a:spcPct val="0"/>
              </a:spcBef>
              <a:spcAft>
                <a:spcPct val="0"/>
              </a:spcAft>
              <a:defRPr/>
            </a:pPr>
            <a:endParaRPr lang="en-US" sz="1400" b="1" kern="0">
              <a:gradFill>
                <a:gsLst>
                  <a:gs pos="0">
                    <a:srgbClr val="FFFFFF"/>
                  </a:gs>
                  <a:gs pos="100000">
                    <a:srgbClr val="FFFFFF"/>
                  </a:gs>
                </a:gsLst>
                <a:lin ang="5400000" scaled="0"/>
              </a:gradFill>
              <a:latin typeface="Segoe UI"/>
              <a:ea typeface="Segoe UI" pitchFamily="34" charset="0"/>
              <a:cs typeface="Segoe UI" pitchFamily="34" charset="0"/>
            </a:endParaRPr>
          </a:p>
          <a:p>
            <a:r>
              <a:rPr lang="en-US" sz="1400" i="1"/>
              <a:t>… which is why we provide the hardware for Windows and Linux platforms …</a:t>
            </a:r>
          </a:p>
          <a:p>
            <a:endParaRPr lang="en-US" sz="1400" b="1" i="1"/>
          </a:p>
          <a:p>
            <a:pPr marL="174708" indent="-174708">
              <a:buFont typeface="Arial" panose="020B0604020202020204" pitchFamily="34" charset="0"/>
              <a:buChar char="•"/>
            </a:pPr>
            <a:r>
              <a:rPr lang="en-US" sz="1400"/>
              <a:t>Given Microsoft makes Windows Server, there is no better place to run Windows platforms than on Windows Server. They were, quite literally, made for each other. </a:t>
            </a:r>
          </a:p>
          <a:p>
            <a:pPr marL="174708" indent="-174708">
              <a:buFont typeface="Arial" panose="020B0604020202020204" pitchFamily="34" charset="0"/>
              <a:buChar char="•"/>
            </a:pPr>
            <a:r>
              <a:rPr lang="en-US" sz="1400"/>
              <a:t>But, we don’t stop at Windows …</a:t>
            </a:r>
          </a:p>
          <a:p>
            <a:pPr marL="174708" indent="-174708">
              <a:buFont typeface="Arial" panose="020B0604020202020204" pitchFamily="34" charset="0"/>
              <a:buChar char="•"/>
            </a:pPr>
            <a:r>
              <a:rPr lang="en-US" sz="1400"/>
              <a:t>33% of our partners are running Linux.</a:t>
            </a:r>
          </a:p>
          <a:p>
            <a:pPr marL="174708" indent="-174708">
              <a:buFont typeface="Arial" panose="020B0604020202020204" pitchFamily="34" charset="0"/>
              <a:buChar char="•"/>
            </a:pPr>
            <a:r>
              <a:rPr lang="en-US" sz="1400"/>
              <a:t>Which is why Microsoft has established relationships with big Linux providers.</a:t>
            </a:r>
          </a:p>
          <a:p>
            <a:pPr marL="174708" indent="-174708">
              <a:buFont typeface="Arial" panose="020B0604020202020204" pitchFamily="34" charset="0"/>
              <a:buChar char="•"/>
            </a:pPr>
            <a:r>
              <a:rPr lang="en-US" sz="1400"/>
              <a:t>In fact, Microsoft is doing something the industry has never seen before … we’ve developed an integrated support model with Red Hat support sitting with our support teams in Redmond.</a:t>
            </a:r>
          </a:p>
          <a:p>
            <a:pPr marL="174708" indent="-174708">
              <a:buFont typeface="Arial" panose="020B0604020202020204" pitchFamily="34" charset="0"/>
              <a:buChar char="•"/>
            </a:pPr>
            <a:endParaRPr lang="en-US" sz="1400"/>
          </a:p>
          <a:p>
            <a:pPr marL="174708" indent="-174708" defTabSz="931774">
              <a:buFont typeface="Arial" panose="020B0604020202020204" pitchFamily="34" charset="0"/>
              <a:buChar char="•"/>
              <a:defRPr/>
            </a:pPr>
            <a:r>
              <a:rPr lang="en-US" sz="1400"/>
              <a:t>“Red Hat really impressed us with its enterprise grade support. We were surprised that Red Hat open source and Azure support resided in the same office. ”</a:t>
            </a:r>
            <a:br>
              <a:rPr lang="en-US" sz="1400"/>
            </a:br>
            <a:r>
              <a:rPr lang="en-US" sz="1400"/>
              <a:t> —Richard Hum: Studio Head —Throwback Entertainment </a:t>
            </a:r>
          </a:p>
          <a:p>
            <a:pPr marL="174708" indent="-174708" defTabSz="931774">
              <a:buFont typeface="Arial" panose="020B0604020202020204" pitchFamily="34" charset="0"/>
              <a:buChar char="•"/>
              <a:defRPr/>
            </a:pPr>
            <a:endParaRPr lang="en-US" sz="1400"/>
          </a:p>
          <a:p>
            <a:pPr marL="0" indent="0" defTabSz="931774">
              <a:buFont typeface="Arial" panose="020B0604020202020204" pitchFamily="34" charset="0"/>
              <a:buNone/>
              <a:defRPr/>
            </a:pPr>
            <a:r>
              <a:rPr lang="en-US" sz="1400"/>
              <a:t>Best for MS workloads</a:t>
            </a:r>
          </a:p>
          <a:p>
            <a:pPr marL="0" indent="0" defTabSz="931774">
              <a:buFont typeface="Arial" panose="020B0604020202020204" pitchFamily="34" charset="0"/>
              <a:buNone/>
              <a:defRPr/>
            </a:pPr>
            <a:endParaRPr lang="en-US" sz="1400"/>
          </a:p>
          <a:p>
            <a:pPr lvl="0">
              <a:defRPr/>
            </a:pPr>
            <a:r>
              <a:rPr lang="en-US" sz="1600">
                <a:solidFill>
                  <a:schemeClr val="accent1"/>
                </a:solidFill>
                <a:latin typeface="Segoe UI Semibold" panose="020B0702040204020203" pitchFamily="34" charset="0"/>
                <a:cs typeface="Segoe UI Semibold" panose="020B0702040204020203" pitchFamily="34" charset="0"/>
              </a:rPr>
              <a:t>Gain unparalleled cost savings</a:t>
            </a:r>
          </a:p>
          <a:p>
            <a:pPr lvl="0">
              <a:defRPr/>
            </a:pPr>
            <a:r>
              <a:rPr lang="en-US" sz="1400">
                <a:cs typeface="Segoe UI Semibold" panose="020B0702040204020203" pitchFamily="34" charset="0"/>
              </a:rPr>
              <a:t>Save up to 73% compared to AWS RIs*</a:t>
            </a:r>
          </a:p>
          <a:p>
            <a:pPr lvl="0">
              <a:defRPr/>
            </a:pPr>
            <a:endParaRPr lang="en-US" sz="1400">
              <a:cs typeface="Segoe UI Semibold" panose="020B0702040204020203" pitchFamily="34" charset="0"/>
            </a:endParaRPr>
          </a:p>
          <a:p>
            <a:pPr lvl="0">
              <a:defRPr/>
            </a:pPr>
            <a:endParaRPr lang="en-US" sz="1400">
              <a:cs typeface="Segoe UI Semibold" panose="020B0702040204020203" pitchFamily="34" charset="0"/>
            </a:endParaRPr>
          </a:p>
          <a:p>
            <a:pPr lvl="0">
              <a:defRPr/>
            </a:pPr>
            <a:r>
              <a:rPr lang="en-US" sz="1400">
                <a:cs typeface="Segoe UI Semibold" panose="020B0702040204020203" pitchFamily="34" charset="0"/>
              </a:rPr>
              <a:t>+4000 certified partner solutions in Azure market place</a:t>
            </a:r>
          </a:p>
          <a:p>
            <a:pPr lvl="0">
              <a:defRPr/>
            </a:pPr>
            <a:endParaRPr lang="en-US" sz="1400">
              <a:cs typeface="Segoe UI Semibold" panose="020B0702040204020203" pitchFamily="34" charset="0"/>
            </a:endParaRPr>
          </a:p>
          <a:p>
            <a:pPr lvl="0">
              <a:defRPr/>
            </a:pPr>
            <a:endParaRPr lang="en-US" sz="1400">
              <a:cs typeface="Segoe UI Semibold" panose="020B0702040204020203" pitchFamily="34" charset="0"/>
            </a:endParaRPr>
          </a:p>
          <a:p>
            <a:pPr marL="0" indent="0" defTabSz="931774">
              <a:buFont typeface="Arial" panose="020B0604020202020204" pitchFamily="34" charset="0"/>
              <a:buNone/>
              <a:defRPr/>
            </a:pPr>
            <a:endParaRPr lang="en-US" sz="1400"/>
          </a:p>
          <a:p>
            <a:pPr defTabSz="950189" fontAlgn="base">
              <a:lnSpc>
                <a:spcPct val="90000"/>
              </a:lnSpc>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530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Summary: </a:t>
            </a:r>
          </a:p>
          <a:p>
            <a:pPr marL="228600" indent="-228600">
              <a:buAutoNum type="arabicParenR"/>
            </a:pPr>
            <a:r>
              <a:rPr lang="en-US" sz="900" kern="1200">
                <a:solidFill>
                  <a:schemeClr val="tx1"/>
                </a:solidFill>
                <a:effectLst/>
                <a:latin typeface="Segoe UI Light" pitchFamily="34" charset="0"/>
                <a:ea typeface="+mn-ea"/>
                <a:cs typeface="+mn-cs"/>
              </a:rPr>
              <a:t>Key phases of the Azure migration experience – workload assessment and discovery, workload migration, ongoing optimization (Cost Management, AHB, RI) and security/management (built in services – backup, monitoring, blueprints etc.)</a:t>
            </a:r>
          </a:p>
          <a:p>
            <a:pPr marL="228600" indent="-228600">
              <a:buAutoNum type="arabicParenR"/>
            </a:pPr>
            <a:endParaRPr lang="en-US" sz="900" kern="1200">
              <a:solidFill>
                <a:schemeClr val="tx1"/>
              </a:solidFill>
              <a:effectLst/>
              <a:latin typeface="Segoe UI Light" pitchFamily="34" charset="0"/>
              <a:ea typeface="+mn-ea"/>
              <a:cs typeface="+mn-cs"/>
            </a:endParaRPr>
          </a:p>
          <a:p>
            <a:pPr marL="228600" indent="-228600">
              <a:buAutoNum type="arabicParenR"/>
            </a:pPr>
            <a:r>
              <a:rPr lang="en-US" sz="900" kern="1200">
                <a:solidFill>
                  <a:schemeClr val="tx1"/>
                </a:solidFill>
                <a:effectLst/>
                <a:latin typeface="Segoe UI Light" pitchFamily="34" charset="0"/>
                <a:ea typeface="+mn-ea"/>
                <a:cs typeface="+mn-cs"/>
              </a:rPr>
              <a:t>Key investments – tools,  prescriptive guidance, and handholding </a:t>
            </a:r>
          </a:p>
          <a:p>
            <a:pPr marL="0" indent="0">
              <a:buNone/>
            </a:pPr>
            <a:endParaRPr lang="en-US" sz="900" kern="1200">
              <a:solidFill>
                <a:schemeClr val="tx1"/>
              </a:solidFill>
              <a:effectLst/>
              <a:latin typeface="Segoe UI Light" pitchFamily="34" charset="0"/>
              <a:ea typeface="+mn-ea"/>
              <a:cs typeface="+mn-cs"/>
            </a:endParaRPr>
          </a:p>
          <a:p>
            <a:pPr marL="0" indent="0">
              <a:buNone/>
            </a:pPr>
            <a:r>
              <a:rPr lang="en-US" sz="900" kern="1200">
                <a:solidFill>
                  <a:schemeClr val="tx1"/>
                </a:solidFill>
                <a:effectLst/>
                <a:latin typeface="Segoe UI Light" pitchFamily="34" charset="0"/>
                <a:ea typeface="+mn-ea"/>
                <a:cs typeface="+mn-cs"/>
              </a:rPr>
              <a:t>3) Foundational best practices which are critical enablers to help you scale up your efforts – skilling up people, investing in the right processes – e.g., biz case/exec support, mix of migration strategies, tracking migration), and tech (governance, networking, identity, security and management tool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___________________________________________________________________________________________________________________</a:t>
            </a:r>
          </a:p>
          <a:p>
            <a:r>
              <a:rPr lang="en-US" sz="900" b="1" kern="1200">
                <a:solidFill>
                  <a:schemeClr val="tx1"/>
                </a:solidFill>
                <a:effectLst/>
                <a:latin typeface="Segoe UI Light" pitchFamily="34" charset="0"/>
                <a:ea typeface="+mn-ea"/>
                <a:cs typeface="+mn-cs"/>
              </a:rPr>
              <a:t>Detail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1) </a:t>
            </a:r>
            <a:r>
              <a:rPr lang="en-US" sz="900" b="1" kern="1200">
                <a:solidFill>
                  <a:schemeClr val="tx1"/>
                </a:solidFill>
                <a:effectLst/>
                <a:latin typeface="Segoe UI Light" pitchFamily="34" charset="0"/>
                <a:ea typeface="+mn-ea"/>
                <a:cs typeface="+mn-cs"/>
              </a:rPr>
              <a:t>The figure above shows the Azure migration experience.   Let’s walk through the key phases of this experience. </a:t>
            </a:r>
          </a:p>
          <a:p>
            <a:r>
              <a:rPr lang="en-US" sz="900" b="1" u="none" strike="noStrike" kern="1200">
                <a:solidFill>
                  <a:schemeClr val="tx1"/>
                </a:solidFill>
                <a:effectLst/>
                <a:latin typeface="Segoe UI Light" pitchFamily="34" charset="0"/>
                <a:ea typeface="+mn-ea"/>
                <a:cs typeface="+mn-cs"/>
              </a:rPr>
              <a:t> </a:t>
            </a:r>
            <a:endParaRPr lang="en-US" sz="900" b="1" kern="1200">
              <a:solidFill>
                <a:schemeClr val="tx1"/>
              </a:solidFill>
              <a:effectLst/>
              <a:latin typeface="Segoe UI Light" pitchFamily="34" charset="0"/>
              <a:ea typeface="+mn-ea"/>
              <a:cs typeface="+mn-cs"/>
            </a:endParaRPr>
          </a:p>
          <a:p>
            <a:r>
              <a:rPr lang="en-US" sz="900" b="1" u="sng" kern="1200">
                <a:solidFill>
                  <a:schemeClr val="tx1"/>
                </a:solidFill>
                <a:effectLst/>
                <a:latin typeface="Segoe UI Light" pitchFamily="34" charset="0"/>
                <a:ea typeface="+mn-ea"/>
                <a:cs typeface="+mn-cs"/>
              </a:rPr>
              <a:t>Assess </a:t>
            </a:r>
            <a:endParaRPr lang="en-US" sz="900" b="1"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is phase is about discovery and assessment of on-premises resources for Azure migration.  </a:t>
            </a:r>
            <a:r>
              <a:rPr lang="en-US" sz="900" b="1" u="sng" kern="1200">
                <a:solidFill>
                  <a:schemeClr val="tx1"/>
                </a:solidFill>
                <a:effectLst/>
                <a:latin typeface="Segoe UI Light" pitchFamily="34" charset="0"/>
                <a:ea typeface="+mn-ea"/>
                <a:cs typeface="+mn-cs"/>
                <a:hlinkClick r:id="rId3"/>
              </a:rPr>
              <a:t>Azure Migrate</a:t>
            </a:r>
            <a:r>
              <a:rPr lang="en-US" sz="900" kern="1200">
                <a:solidFill>
                  <a:schemeClr val="tx1"/>
                </a:solidFill>
                <a:effectLst/>
                <a:latin typeface="Segoe UI Light" pitchFamily="34" charset="0"/>
                <a:ea typeface="+mn-ea"/>
                <a:cs typeface="+mn-cs"/>
              </a:rPr>
              <a:t> is our</a:t>
            </a:r>
            <a:r>
              <a:rPr lang="en-US" sz="900" u="none" kern="1200">
                <a:solidFill>
                  <a:schemeClr val="tx1"/>
                </a:solidFill>
                <a:effectLst/>
                <a:latin typeface="Segoe UI Light" pitchFamily="34" charset="0"/>
                <a:ea typeface="+mn-ea"/>
                <a:cs typeface="+mn-cs"/>
              </a:rPr>
              <a:t> free, built </a:t>
            </a:r>
            <a:r>
              <a:rPr lang="en-US" sz="900" kern="1200">
                <a:solidFill>
                  <a:schemeClr val="tx1"/>
                </a:solidFill>
                <a:effectLst/>
                <a:latin typeface="Segoe UI Light" pitchFamily="34" charset="0"/>
                <a:ea typeface="+mn-ea"/>
                <a:cs typeface="+mn-cs"/>
              </a:rPr>
              <a:t>in tool for infrastructure assessment.  </a:t>
            </a:r>
          </a:p>
          <a:p>
            <a:endParaRPr lang="en-US" sz="900" kern="1200">
              <a:solidFill>
                <a:schemeClr val="tx1"/>
              </a:solidFill>
              <a:effectLst/>
              <a:latin typeface="Segoe UI Light" pitchFamily="34" charset="0"/>
              <a:ea typeface="+mn-ea"/>
              <a:cs typeface="+mn-cs"/>
            </a:endParaRPr>
          </a:p>
          <a:p>
            <a:r>
              <a:rPr lang="en-US" sz="900" b="1" u="sng" kern="1200">
                <a:solidFill>
                  <a:schemeClr val="tx1"/>
                </a:solidFill>
                <a:effectLst/>
                <a:latin typeface="Segoe UI Light" pitchFamily="34" charset="0"/>
                <a:ea typeface="+mn-ea"/>
                <a:cs typeface="+mn-cs"/>
              </a:rPr>
              <a:t>Migrate </a:t>
            </a:r>
            <a:endParaRPr lang="en-US" sz="900" b="1"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is phase is about defining and executing migration and modernization strategies – rehost, refactor, and rearchitect.  We have great tools like ASR and Azure DB Migration Service to help with reshooting.  And then we have some great Azure capabilities to help customers refactor and rearchitect their apps.  </a:t>
            </a: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u="sng" kern="1200">
                <a:solidFill>
                  <a:schemeClr val="tx1"/>
                </a:solidFill>
                <a:effectLst/>
                <a:latin typeface="Segoe UI Light" pitchFamily="34" charset="0"/>
                <a:ea typeface="+mn-ea"/>
                <a:cs typeface="+mn-cs"/>
              </a:rPr>
              <a:t>Optimize </a:t>
            </a:r>
            <a:endParaRPr lang="en-US" sz="900" b="1"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Many customers look to the cloud to gain operational efficiencies and cost savings. With </a:t>
            </a:r>
            <a:r>
              <a:rPr lang="en-US" sz="900" u="sng" kern="1200">
                <a:solidFill>
                  <a:schemeClr val="tx1"/>
                </a:solidFill>
                <a:effectLst/>
                <a:latin typeface="Segoe UI Light" pitchFamily="34" charset="0"/>
                <a:ea typeface="+mn-ea"/>
                <a:cs typeface="+mn-cs"/>
              </a:rPr>
              <a:t>Azure Cost Management</a:t>
            </a:r>
            <a:r>
              <a:rPr lang="en-US" sz="900" kern="1200">
                <a:solidFill>
                  <a:schemeClr val="tx1"/>
                </a:solidFill>
                <a:effectLst/>
                <a:latin typeface="Segoe UI Light" pitchFamily="34" charset="0"/>
                <a:ea typeface="+mn-ea"/>
                <a:cs typeface="+mn-cs"/>
              </a:rPr>
              <a:t> , customers can now manage their cloud spend in a unified experience, and leverage built-in best practice recommendations (e.g., turning off idle VMs) to drive operational efficiency.  They can apply Azure Hybrid Benefit and Azure Reserved Instances during or after migration for big savings.  </a:t>
            </a:r>
          </a:p>
          <a:p>
            <a:r>
              <a:rPr lang="en-US" sz="900" b="1" kern="1200">
                <a:solidFill>
                  <a:schemeClr val="tx1"/>
                </a:solidFill>
                <a:effectLst/>
                <a:latin typeface="Segoe UI Light" pitchFamily="34" charset="0"/>
                <a:ea typeface="+mn-ea"/>
                <a:cs typeface="+mn-cs"/>
              </a:rPr>
              <a:t> </a:t>
            </a:r>
            <a:endParaRPr lang="en-US" sz="900" kern="1200">
              <a:solidFill>
                <a:schemeClr val="tx1"/>
              </a:solidFill>
              <a:effectLst/>
              <a:latin typeface="Segoe UI Light" pitchFamily="34" charset="0"/>
              <a:ea typeface="+mn-ea"/>
              <a:cs typeface="+mn-cs"/>
            </a:endParaRPr>
          </a:p>
          <a:p>
            <a:r>
              <a:rPr lang="en-US" sz="900" b="1" u="sng" kern="1200">
                <a:solidFill>
                  <a:schemeClr val="tx1"/>
                </a:solidFill>
                <a:effectLst/>
                <a:latin typeface="Segoe UI Light" pitchFamily="34" charset="0"/>
                <a:ea typeface="+mn-ea"/>
                <a:cs typeface="+mn-cs"/>
              </a:rPr>
              <a:t>Secure and Manage  </a:t>
            </a:r>
            <a:endParaRPr lang="en-US" sz="900" b="1"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understand that securing and managing migrated resources is critical, both during migration and on an ongoing basis. </a:t>
            </a:r>
            <a:r>
              <a:rPr lang="en-US" sz="900" u="sng" kern="1200">
                <a:solidFill>
                  <a:schemeClr val="tx1"/>
                </a:solidFill>
                <a:effectLst/>
                <a:latin typeface="Segoe UI Light" pitchFamily="34" charset="0"/>
                <a:ea typeface="+mn-ea"/>
                <a:cs typeface="+mn-cs"/>
              </a:rPr>
              <a:t>With Azure security and management</a:t>
            </a:r>
            <a:r>
              <a:rPr lang="en-US" sz="900" kern="1200">
                <a:solidFill>
                  <a:schemeClr val="tx1"/>
                </a:solidFill>
                <a:effectLst/>
                <a:latin typeface="Segoe UI Light" pitchFamily="34" charset="0"/>
                <a:ea typeface="+mn-ea"/>
                <a:cs typeface="+mn-cs"/>
              </a:rPr>
              <a:t> , customers can take advantage of built-in intelligent services for their Azure and on-premises workloads.  We highly recommend turning on Azure Security Center, Azure Backup, and Azure Log Analytics right after the resource is migrated, followed by fine-tuning over time.   </a:t>
            </a:r>
          </a:p>
          <a:p>
            <a:endParaRPr lang="en-US" sz="900" kern="120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Segoe UI Light" pitchFamily="34" charset="0"/>
                <a:ea typeface="+mn-ea"/>
                <a:cs typeface="+mn-cs"/>
              </a:rPr>
              <a:t>2) </a:t>
            </a:r>
            <a:r>
              <a:rPr lang="en-US" sz="900" b="1" kern="1200">
                <a:solidFill>
                  <a:schemeClr val="tx1"/>
                </a:solidFill>
                <a:effectLst/>
                <a:latin typeface="Segoe UI Light" pitchFamily="34" charset="0"/>
                <a:ea typeface="+mn-ea"/>
                <a:cs typeface="+mn-cs"/>
              </a:rPr>
              <a:t>To support these phases, we have some great invest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Migration tools (like I mention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Azure </a:t>
            </a: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panose="020B0502040204020203" pitchFamily="34" charset="0"/>
              </a:rPr>
              <a:t>migration</a:t>
            </a: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 center (single place for all things mi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Step by step scenario gui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FastTrack for Azure for handholding by MSF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Azure Expert MSPs which is a group of highly skilled Azure partners to help yo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rPr>
              <a:t>3) Finally, </a:t>
            </a:r>
            <a:r>
              <a:rPr kumimoji="0" lang="en-US" sz="9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rPr>
              <a:t>we recommend a set of best practices based on our learnings from helping customers in real world migration projects.  </a:t>
            </a: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rPr>
              <a:t>These include skilling up your people, investing in the right plans and processes (e.g., biz case for migration, migration strategy planning, tracking migration progress), and having tech pre-</a:t>
            </a:r>
            <a:r>
              <a:rPr kumimoji="0" lang="en-US" sz="900" b="0" i="0" u="none" strike="noStrike" kern="1200" cap="none" spc="0" normalizeH="0" baseline="0" noProof="0" err="1">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rPr>
              <a:t>reqs</a:t>
            </a: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rPr>
              <a:t> in place (network, identity, security, management, governanc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Segoe UI Semibold" panose="020B0702040204020203" pitchFamily="34" charset="0"/>
              </a:rPr>
              <a:t>We will have a lot more detail on these in subsequent sessions.  </a:t>
            </a:r>
            <a:endParaRPr kumimoji="0" lang="en-US" sz="9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mn-cs"/>
            </a:endParaRPr>
          </a:p>
          <a:p>
            <a:endParaRPr lang="en-US" sz="90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F601073E-3048-4964-B22C-4C85F61DE186}" type="datetime8">
              <a:rPr lang="en-US" smtClean="0"/>
              <a:t>7/31/2019 6:1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7773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emf"/><Relationship Id="rId1" Type="http://schemas.openxmlformats.org/officeDocument/2006/relationships/slideMaster" Target="../slideMasters/slideMaster7.xml"/><Relationship Id="rId4" Type="http://schemas.openxmlformats.org/officeDocument/2006/relationships/image" Target="../media/image13.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emf"/><Relationship Id="rId1" Type="http://schemas.openxmlformats.org/officeDocument/2006/relationships/slideMaster" Target="../slideMasters/slideMaster8.xml"/><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7.emf"/><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33.jp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33.jp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10.xml"/><Relationship Id="rId4" Type="http://schemas.openxmlformats.org/officeDocument/2006/relationships/image" Target="../media/image33.jp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10.xml"/><Relationship Id="rId4" Type="http://schemas.openxmlformats.org/officeDocument/2006/relationships/image" Target="../media/image33.jp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emf"/><Relationship Id="rId1" Type="http://schemas.openxmlformats.org/officeDocument/2006/relationships/slideMaster" Target="../slideMasters/slideMaster14.xml"/><Relationship Id="rId4" Type="http://schemas.openxmlformats.org/officeDocument/2006/relationships/image" Target="../media/image41.svg"/></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55.jpg"/><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emf"/><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1851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605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30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5476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48971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2360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3935958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Slide">
    <p:bg>
      <p:bgPr>
        <a:solidFill>
          <a:schemeClr val="accent3"/>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605303" y="585788"/>
            <a:ext cx="1324234"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chemeClr val="accent3">
              <a:alpha val="75000"/>
            </a:scheme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tx1"/>
                </a:soli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3527153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userDrawn="1">
            <p:ph type="title" hasCustomPrompt="1"/>
          </p:nvPr>
        </p:nvSpPr>
        <p:spPr>
          <a:xfrm>
            <a:off x="680596" y="1505833"/>
            <a:ext cx="3938914" cy="553998"/>
          </a:xfrm>
        </p:spPr>
        <p:txBody>
          <a:bodyPr wrap="square" anchor="b" anchorCtr="0">
            <a:spAutoFit/>
          </a:bodyPr>
          <a:lstStyle>
            <a:lvl1pPr algn="l">
              <a:defRPr/>
            </a:lvl1pPr>
          </a:lstStyle>
          <a:p>
            <a:r>
              <a:rPr lang="en-US"/>
              <a:t>Presentation title </a:t>
            </a:r>
          </a:p>
        </p:txBody>
      </p:sp>
      <p:sp>
        <p:nvSpPr>
          <p:cNvPr id="5" name="Text Placeholder 4"/>
          <p:cNvSpPr>
            <a:spLocks noGrp="1"/>
          </p:cNvSpPr>
          <p:nvPr userDrawn="1">
            <p:ph type="body" sz="quarter" idx="12" hasCustomPrompt="1"/>
          </p:nvPr>
        </p:nvSpPr>
        <p:spPr>
          <a:xfrm>
            <a:off x="674375" y="2488694"/>
            <a:ext cx="393891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0077328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88619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66557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5083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lumn Non-bulleted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624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4155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7852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3327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584199" y="1436688"/>
            <a:ext cx="7253289"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27177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598007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7727408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170421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3" name="TextBox 2">
            <a:extLst>
              <a:ext uri="{FF2B5EF4-FFF2-40B4-BE49-F238E27FC236}">
                <a16:creationId xmlns:a16="http://schemas.microsoft.com/office/drawing/2014/main" id="{1725D44F-44FC-475C-98F6-37CFCCF9B1A5}"/>
              </a:ext>
            </a:extLst>
          </p:cNvPr>
          <p:cNvSpPr txBox="1"/>
          <p:nvPr userDrawn="1"/>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517873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62510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082627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83652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11210" y="1770167"/>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821447" y="-1612378"/>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0"/>
            <a:ext cx="5999658" cy="6968531"/>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01234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4084911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37692592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9424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8322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0969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5" name="Text Box 3">
            <a:extLst>
              <a:ext uri="{FF2B5EF4-FFF2-40B4-BE49-F238E27FC236}">
                <a16:creationId xmlns:a16="http://schemas.microsoft.com/office/drawing/2014/main" id="{7CBD3459-BD59-4E89-A7B5-22EB469DA2A8}"/>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A8814FBD-8B54-4972-80C7-5BC2322D49F2}"/>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02775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193993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4593790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2427588"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February 11–15, 2019</a:t>
            </a:r>
          </a:p>
          <a:p>
            <a:pPr algn="l"/>
            <a:r>
              <a:rPr lang="en-US" sz="2000">
                <a:gradFill>
                  <a:gsLst>
                    <a:gs pos="82234">
                      <a:schemeClr val="accent2"/>
                    </a:gs>
                    <a:gs pos="68282">
                      <a:schemeClr val="accent2"/>
                    </a:gs>
                  </a:gsLst>
                  <a:lin ang="5400000" scaled="0"/>
                </a:gradFill>
              </a:rPr>
              <a:t>Seattle, WA</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1710575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8749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4091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38575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31006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5096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6663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304608309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7" name="Footer Placeholder 4"/>
          <p:cNvSpPr>
            <a:spLocks noGrp="1"/>
          </p:cNvSpPr>
          <p:nvPr>
            <p:ph type="ftr" sz="quarter" idx="3"/>
          </p:nvPr>
        </p:nvSpPr>
        <p:spPr>
          <a:xfrm>
            <a:off x="838201" y="6296400"/>
            <a:ext cx="2743200" cy="365125"/>
          </a:xfrm>
          <a:prstGeom prst="rect">
            <a:avLst/>
          </a:prstGeom>
        </p:spPr>
        <p:txBody>
          <a:bodyPr vert="horz" lIns="0" tIns="45720" rIns="91440" bIns="45720" rtlCol="0" anchor="ctr"/>
          <a:lstStyle>
            <a:lvl1pPr algn="l">
              <a:defRPr sz="900" b="1" i="0" cap="all" spc="600" baseline="0">
                <a:solidFill>
                  <a:schemeClr val="tx1"/>
                </a:solidFill>
                <a:latin typeface="Muli Black" charset="0"/>
                <a:ea typeface="Muli Black" charset="0"/>
                <a:cs typeface="Muli Black" charset="0"/>
              </a:defRPr>
            </a:lvl1pPr>
          </a:lstStyle>
          <a:p>
            <a:r>
              <a:rPr lang="en-US"/>
              <a:t>@Techielass</a:t>
            </a:r>
          </a:p>
        </p:txBody>
      </p:sp>
      <p:sp>
        <p:nvSpPr>
          <p:cNvPr id="8" name="Slide Number Placeholder 5"/>
          <p:cNvSpPr>
            <a:spLocks noGrp="1"/>
          </p:cNvSpPr>
          <p:nvPr>
            <p:ph type="sldNum" sz="quarter" idx="4"/>
          </p:nvPr>
        </p:nvSpPr>
        <p:spPr>
          <a:xfrm>
            <a:off x="8610601" y="6296400"/>
            <a:ext cx="2743200" cy="365125"/>
          </a:xfrm>
          <a:prstGeom prst="rect">
            <a:avLst/>
          </a:prstGeom>
        </p:spPr>
        <p:txBody>
          <a:bodyPr vert="horz" lIns="91440" tIns="45720" rIns="0" bIns="45720" rtlCol="0" anchor="ctr"/>
          <a:lstStyle>
            <a:lvl1pPr algn="r">
              <a:defRPr sz="900" b="1" i="0" cap="all" spc="0" baseline="0">
                <a:solidFill>
                  <a:schemeClr val="tx1"/>
                </a:solidFill>
                <a:latin typeface="Muli Black" charset="0"/>
                <a:ea typeface="Muli Black" charset="0"/>
                <a:cs typeface="Muli Black" charset="0"/>
              </a:defRPr>
            </a:lvl1pPr>
          </a:lstStyle>
          <a:p>
            <a:fld id="{584AFF75-BD5D-E342-A9F1-12EC02DB40E0}" type="slidenum">
              <a:rPr lang="en-US" smtClean="0"/>
              <a:pPr/>
              <a:t>‹#›</a:t>
            </a:fld>
            <a:endParaRPr lang="en-US"/>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userDrawn="1"/>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userDrawn="1"/>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p:spPr>
        <p:txBody>
          <a:bodyPr/>
          <a:lstStyle>
            <a:lvl1pPr algn="l">
              <a:defRPr/>
            </a:lvl1pPr>
          </a:lstStyle>
          <a:p>
            <a:r>
              <a:rPr lang="en-US"/>
              <a:t>Click to edit Master</a:t>
            </a:r>
          </a:p>
        </p:txBody>
      </p:sp>
    </p:spTree>
    <p:extLst>
      <p:ext uri="{BB962C8B-B14F-4D97-AF65-F5344CB8AC3E}">
        <p14:creationId xmlns:p14="http://schemas.microsoft.com/office/powerpoint/2010/main" val="1583399339"/>
      </p:ext>
    </p:extLst>
  </p:cSld>
  <p:clrMapOvr>
    <a:masterClrMapping/>
  </p:clrMapOvr>
  <p:extLst>
    <p:ext uri="{DCECCB84-F9BA-43D5-87BE-67443E8EF086}">
      <p15:sldGuideLst xmlns:p15="http://schemas.microsoft.com/office/powerpoint/2012/main">
        <p15:guide id="1" pos="2280">
          <p15:clr>
            <a:srgbClr val="FBAE40"/>
          </p15:clr>
        </p15:guide>
        <p15:guide id="2" orient="horz" pos="18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8094428" y="3305550"/>
            <a:ext cx="3164620" cy="630339"/>
          </a:xfrm>
        </p:spPr>
        <p:txBody>
          <a:bodyPr/>
          <a:lstStyle>
            <a:lvl1pPr algn="l">
              <a:defRPr/>
            </a:lvl1pPr>
          </a:lstStyle>
          <a:p>
            <a:r>
              <a:rPr lang="en-US"/>
              <a:t>Click to edit Master</a:t>
            </a:r>
          </a:p>
        </p:txBody>
      </p:sp>
    </p:spTree>
    <p:extLst>
      <p:ext uri="{BB962C8B-B14F-4D97-AF65-F5344CB8AC3E}">
        <p14:creationId xmlns:p14="http://schemas.microsoft.com/office/powerpoint/2010/main" val="2850061166"/>
      </p:ext>
    </p:extLst>
  </p:cSld>
  <p:clrMapOvr>
    <a:masterClrMapping/>
  </p:clrMapOvr>
  <p:extLst>
    <p:ext uri="{DCECCB84-F9BA-43D5-87BE-67443E8EF086}">
      <p15:sldGuideLst xmlns:p15="http://schemas.microsoft.com/office/powerpoint/2012/main">
        <p15:guide id="1" pos="2280">
          <p15:clr>
            <a:srgbClr val="FBAE40"/>
          </p15:clr>
        </p15:guide>
        <p15:guide id="2" orient="horz" pos="18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4" name="Text Placeholder 13">
            <a:extLst>
              <a:ext uri="{FF2B5EF4-FFF2-40B4-BE49-F238E27FC236}">
                <a16:creationId xmlns:a16="http://schemas.microsoft.com/office/drawing/2014/main" id="{9BCA9ED7-BCB5-416B-AD68-5998C079D49A}"/>
              </a:ext>
            </a:extLst>
          </p:cNvPr>
          <p:cNvSpPr>
            <a:spLocks noGrp="1"/>
          </p:cNvSpPr>
          <p:nvPr userDrawn="1">
            <p:ph type="body" sz="quarter" idx="10"/>
          </p:nvPr>
        </p:nvSpPr>
        <p:spPr>
          <a:xfrm>
            <a:off x="8128001" y="3899595"/>
            <a:ext cx="3224211" cy="1517338"/>
          </a:xfrm>
        </p:spPr>
        <p:txBody>
          <a:bodyPr/>
          <a:lstStyle>
            <a:lvl1pPr marL="0" indent="0">
              <a:buFont typeface="Arial" panose="020B0604020202020204" pitchFamily="34" charset="0"/>
              <a:buNone/>
              <a:defRPr sz="2400"/>
            </a:lvl1pPr>
            <a:lvl2pPr marL="0" indent="0">
              <a:buFont typeface="Arial" panose="020B0604020202020204" pitchFamily="34" charset="0"/>
              <a:buNone/>
              <a:defRPr sz="18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a:p>
            <a:pPr lvl="2"/>
            <a:r>
              <a:rPr lang="en-US"/>
              <a:t>Third level</a:t>
            </a:r>
          </a:p>
          <a:p>
            <a:pPr lvl="3"/>
            <a:r>
              <a:rPr lang="en-US"/>
              <a:t>Fourth level</a:t>
            </a:r>
          </a:p>
          <a:p>
            <a:pPr lvl="4"/>
            <a:r>
              <a:rPr lang="en-US"/>
              <a:t>Fifth level</a:t>
            </a:r>
          </a:p>
        </p:txBody>
      </p:sp>
      <p:sp>
        <p:nvSpPr>
          <p:cNvPr id="9" name="Title 3">
            <a:extLst>
              <a:ext uri="{FF2B5EF4-FFF2-40B4-BE49-F238E27FC236}">
                <a16:creationId xmlns:a16="http://schemas.microsoft.com/office/drawing/2014/main" id="{A9DE3440-CBFB-4BDA-BD06-9B535C17A6F3}"/>
              </a:ext>
            </a:extLst>
          </p:cNvPr>
          <p:cNvSpPr>
            <a:spLocks noGrp="1"/>
          </p:cNvSpPr>
          <p:nvPr>
            <p:ph type="title"/>
          </p:nvPr>
        </p:nvSpPr>
        <p:spPr>
          <a:xfrm>
            <a:off x="8094428" y="3305550"/>
            <a:ext cx="3164620" cy="630339"/>
          </a:xfrm>
        </p:spPr>
        <p:txBody>
          <a:bodyPr/>
          <a:lstStyle>
            <a:lvl1pPr algn="l">
              <a:defRPr/>
            </a:lvl1pPr>
          </a:lstStyle>
          <a:p>
            <a:r>
              <a:rPr lang="en-US"/>
              <a:t>Click to edit Master</a:t>
            </a:r>
          </a:p>
        </p:txBody>
      </p:sp>
    </p:spTree>
    <p:extLst>
      <p:ext uri="{BB962C8B-B14F-4D97-AF65-F5344CB8AC3E}">
        <p14:creationId xmlns:p14="http://schemas.microsoft.com/office/powerpoint/2010/main" val="1402057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932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33385698"/>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90868" y="58578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7336433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A721870-A346-4D53-AA30-853C2E9CEE09}"/>
              </a:ext>
            </a:extLst>
          </p:cNvPr>
          <p:cNvSpPr>
            <a:spLocks noGrp="1"/>
          </p:cNvSpPr>
          <p:nvPr>
            <p:ph type="body" sz="quarter" idx="10"/>
          </p:nvPr>
        </p:nvSpPr>
        <p:spPr>
          <a:xfrm>
            <a:off x="584200" y="3429000"/>
            <a:ext cx="4700494" cy="2208736"/>
          </a:xfrm>
        </p:spPr>
        <p:txBody>
          <a:bodyPr/>
          <a:lstStyle>
            <a:lvl1pPr marL="0" indent="0" defTabSz="114300">
              <a:buNone/>
              <a:defRPr/>
            </a:lvl1pPr>
            <a:lvl2pPr marL="0" indent="0" defTabSz="114300">
              <a:buNone/>
              <a:defRPr/>
            </a:lvl2pPr>
            <a:lvl3pPr marL="0" indent="0" defTabSz="114300">
              <a:buNone/>
              <a:defRPr/>
            </a:lvl3pPr>
            <a:lvl4pPr marL="0" indent="0" defTabSz="114300">
              <a:buNone/>
              <a:defRPr/>
            </a:lvl4pPr>
            <a:lvl5pPr marL="0" indent="0" defTabSz="11430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199" y="2064389"/>
            <a:ext cx="4700495" cy="1107996"/>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8547142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200" y="2382559"/>
            <a:ext cx="3746260" cy="984885"/>
          </a:xfrm>
        </p:spPr>
        <p:txBody>
          <a:bodyPr anchor="ctr"/>
          <a:lstStyle>
            <a:lvl1pPr algn="l">
              <a:defRPr sz="3200"/>
            </a:lvl1pPr>
          </a:lstStyle>
          <a:p>
            <a:r>
              <a:rPr lang="en-US"/>
              <a:t>Click to edit Master title style</a:t>
            </a:r>
          </a:p>
        </p:txBody>
      </p:sp>
    </p:spTree>
    <p:extLst>
      <p:ext uri="{BB962C8B-B14F-4D97-AF65-F5344CB8AC3E}">
        <p14:creationId xmlns:p14="http://schemas.microsoft.com/office/powerpoint/2010/main" val="241172676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mage Break 2">
    <p:spTree>
      <p:nvGrpSpPr>
        <p:cNvPr id="1" name=""/>
        <p:cNvGrpSpPr/>
        <p:nvPr/>
      </p:nvGrpSpPr>
      <p:grpSpPr>
        <a:xfrm>
          <a:off x="0" y="0"/>
          <a:ext cx="0" cy="0"/>
          <a:chOff x="0" y="0"/>
          <a:chExt cx="0" cy="0"/>
        </a:xfrm>
      </p:grpSpPr>
      <p:sp>
        <p:nvSpPr>
          <p:cNvPr id="6" name="Picture Placeholder 6"/>
          <p:cNvSpPr>
            <a:spLocks noGrp="1"/>
          </p:cNvSpPr>
          <p:nvPr>
            <p:ph type="pic" sz="quarter" idx="17" hasCustomPrompt="1"/>
          </p:nvPr>
        </p:nvSpPr>
        <p:spPr>
          <a:xfrm>
            <a:off x="0" y="0"/>
            <a:ext cx="9095012" cy="6858000"/>
          </a:xfrm>
          <a:solidFill>
            <a:schemeClr val="accent1"/>
          </a:solidFill>
          <a:ln>
            <a:noFill/>
          </a:ln>
        </p:spPr>
        <p:txBody>
          <a:bodyPr lIns="180000" tIns="180000" rIns="180000" bIns="180000">
            <a:normAutofit/>
          </a:bodyPr>
          <a:lstStyle>
            <a:lvl1pPr algn="l">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
        <p:nvSpPr>
          <p:cNvPr id="17" name="Picture Placeholder 6"/>
          <p:cNvSpPr>
            <a:spLocks noGrp="1"/>
          </p:cNvSpPr>
          <p:nvPr>
            <p:ph type="pic" sz="quarter" idx="18" hasCustomPrompt="1"/>
          </p:nvPr>
        </p:nvSpPr>
        <p:spPr>
          <a:xfrm>
            <a:off x="9095015" y="0"/>
            <a:ext cx="3096988" cy="6858000"/>
          </a:xfrm>
          <a:solidFill>
            <a:schemeClr val="accent1"/>
          </a:solidFill>
          <a:ln>
            <a:noFill/>
          </a:ln>
        </p:spPr>
        <p:txBody>
          <a:bodyPr lIns="1260000" tIns="90000" rIns="180000" bIns="360000">
            <a:normAutofit/>
          </a:bodyPr>
          <a:lstStyle>
            <a:lvl1pPr algn="ctr">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Tree>
    <p:extLst>
      <p:ext uri="{BB962C8B-B14F-4D97-AF65-F5344CB8AC3E}">
        <p14:creationId xmlns:p14="http://schemas.microsoft.com/office/powerpoint/2010/main" val="21204716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0961594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2015178"/>
            <a:ext cx="372491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071061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9001144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354826"/>
            <a:ext cx="11655840" cy="553998"/>
          </a:xfrm>
        </p:spPr>
        <p:txBody>
          <a:bodyPr/>
          <a:lstStyle>
            <a:lvl1pPr>
              <a:defRPr sz="4000" spc="-50" baseline="0">
                <a:solidFill>
                  <a:schemeClr val="bg1"/>
                </a:solidFill>
              </a:defRPr>
            </a:lvl1pPr>
          </a:lstStyle>
          <a:p>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00" b="1" i="0" u="none" strike="noStrike" kern="1200" cap="none" spc="-50"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327549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94106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59643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993440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4"/>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Tree>
    <p:extLst>
      <p:ext uri="{BB962C8B-B14F-4D97-AF65-F5344CB8AC3E}">
        <p14:creationId xmlns:p14="http://schemas.microsoft.com/office/powerpoint/2010/main" val="2694774217"/>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2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53833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a:srcRect r="30816" b="20558"/>
          <a:stretch/>
        </p:blipFill>
        <p:spPr bwMode="invGray">
          <a:xfrm>
            <a:off x="6780913"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1440083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369" r="11869"/>
          <a:stretch/>
        </p:blipFill>
        <p:spPr>
          <a:xfrm>
            <a:off x="5333998"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a:stretch>
            <a:fillRect/>
          </a:stretch>
        </p:blipFill>
        <p:spPr>
          <a:xfrm>
            <a:off x="584200"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467343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77581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1745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5498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91118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28394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74209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002952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8692178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13062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7036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72208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71847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741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404679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a:srcRect r="30816" b="20558"/>
          <a:stretch/>
        </p:blipFill>
        <p:spPr bwMode="invGray">
          <a:xfrm>
            <a:off x="6780913" y="1482272"/>
            <a:ext cx="5411087" cy="5375728"/>
          </a:xfrm>
          <a:prstGeom prst="rect">
            <a:avLst/>
          </a:prstGeom>
        </p:spPr>
      </p:pic>
    </p:spTree>
    <p:extLst>
      <p:ext uri="{BB962C8B-B14F-4D97-AF65-F5344CB8AC3E}">
        <p14:creationId xmlns:p14="http://schemas.microsoft.com/office/powerpoint/2010/main" val="2350061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33511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38565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89836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8052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6892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7062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58581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8065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19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091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76410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26435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48934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2323585"/>
          </a:xfrm>
        </p:spPr>
        <p:txBody>
          <a:bodyPr/>
          <a:lstStyle>
            <a:lvl1pPr marL="0" indent="0">
              <a:lnSpc>
                <a:spcPct val="110000"/>
              </a:lnSpc>
              <a:spcBef>
                <a:spcPts val="600"/>
              </a:spcBef>
              <a:spcAft>
                <a:spcPts val="600"/>
              </a:spcAft>
              <a:buNone/>
              <a:defRPr sz="3200">
                <a:gradFill>
                  <a:gsLst>
                    <a:gs pos="1250">
                      <a:schemeClr val="tx2"/>
                    </a:gs>
                    <a:gs pos="99000">
                      <a:schemeClr val="tx2"/>
                    </a:gs>
                  </a:gsLst>
                  <a:lin ang="5400000" scaled="0"/>
                </a:gradFill>
              </a:defRPr>
            </a:lvl1pPr>
            <a:lvl2pPr marL="0" indent="0">
              <a:lnSpc>
                <a:spcPct val="110000"/>
              </a:lnSpc>
              <a:spcBef>
                <a:spcPts val="600"/>
              </a:spcBef>
              <a:spcAft>
                <a:spcPts val="600"/>
              </a:spcAft>
              <a:buFontTx/>
              <a:buNone/>
              <a:defRPr sz="2400">
                <a:latin typeface="+mj-lt"/>
              </a:defRPr>
            </a:lvl2pPr>
            <a:lvl3pPr marL="0" indent="0">
              <a:lnSpc>
                <a:spcPct val="110000"/>
              </a:lnSpc>
              <a:spcBef>
                <a:spcPts val="600"/>
              </a:spcBef>
              <a:spcAft>
                <a:spcPts val="600"/>
              </a:spcAft>
              <a:buNone/>
              <a:defRPr sz="1800"/>
            </a:lvl3pPr>
            <a:lvl4pPr marL="448107" indent="0">
              <a:lnSpc>
                <a:spcPct val="110000"/>
              </a:lnSpc>
              <a:spcBef>
                <a:spcPts val="600"/>
              </a:spcBef>
              <a:spcAft>
                <a:spcPts val="600"/>
              </a:spcAft>
              <a:buNone/>
              <a:defRPr sz="1400"/>
            </a:lvl4pPr>
            <a:lvl5pPr marL="672161" indent="0">
              <a:lnSpc>
                <a:spcPct val="110000"/>
              </a:lnSpc>
              <a:spcBef>
                <a:spcPts val="600"/>
              </a:spcBef>
              <a:spcAft>
                <a:spcPts val="600"/>
              </a:spcAft>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957288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3529" strike="noStrike" spc="-98" baseline="0">
                <a:solidFill>
                  <a:srgbClr val="2F2F2F"/>
                </a:solidFill>
              </a:defRPr>
            </a:lvl1pPr>
          </a:lstStyle>
          <a:p>
            <a:r>
              <a:rPr lang="en-US"/>
              <a:t>Title</a:t>
            </a:r>
          </a:p>
        </p:txBody>
      </p:sp>
    </p:spTree>
    <p:extLst>
      <p:ext uri="{BB962C8B-B14F-4D97-AF65-F5344CB8AC3E}">
        <p14:creationId xmlns:p14="http://schemas.microsoft.com/office/powerpoint/2010/main" val="119778336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9937801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59768"/>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46393377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p:nvSpPr>
          <p:cNvPr id="19" name="Text Placeholder 3"/>
          <p:cNvSpPr>
            <a:spLocks noGrp="1"/>
          </p:cNvSpPr>
          <p:nvPr>
            <p:ph type="body" sz="quarter" idx="12" hasCustomPrompt="1"/>
          </p:nvPr>
        </p:nvSpPr>
        <p:spPr>
          <a:xfrm>
            <a:off x="9723214" y="346376"/>
            <a:ext cx="2039249" cy="550052"/>
          </a:xfrm>
        </p:spPr>
        <p:txBody>
          <a:bodyPr wrap="square" lIns="0" rIns="0" anchor="t" anchorCtr="0">
            <a:noAutofit/>
          </a:bodyPr>
          <a:lstStyle>
            <a:lvl1pPr marL="0" indent="0" algn="l"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426424" y="222583"/>
            <a:ext cx="4428380" cy="899665"/>
          </a:xfrm>
        </p:spPr>
        <p:txBody>
          <a:bodyPr/>
          <a:lstStyle>
            <a:lvl1pPr>
              <a:defRPr lang="en-US" sz="3529" b="0" kern="1200" cap="none" spc="-147"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13" name="Text Placeholder 3"/>
          <p:cNvSpPr>
            <a:spLocks noGrp="1"/>
          </p:cNvSpPr>
          <p:nvPr>
            <p:ph type="body" sz="quarter" idx="10"/>
          </p:nvPr>
        </p:nvSpPr>
        <p:spPr>
          <a:xfrm>
            <a:off x="426424" y="1453615"/>
            <a:ext cx="3780245" cy="215444"/>
          </a:xfrm>
        </p:spPr>
        <p:txBody>
          <a:bodyPr wrap="square">
            <a:spAutoFit/>
          </a:bodyPr>
          <a:lstStyle>
            <a:lvl1pPr marL="0" indent="0">
              <a:spcBef>
                <a:spcPts val="1200"/>
              </a:spcBef>
              <a:spcAft>
                <a:spcPts val="0"/>
              </a:spcAft>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426423" y="5911681"/>
            <a:ext cx="3780245" cy="184666"/>
          </a:xfrm>
        </p:spPr>
        <p:txBody>
          <a:bodyPr wrap="square" anchor="b" anchorCtr="0">
            <a:spAutoFit/>
          </a:bodyPr>
          <a:lstStyle>
            <a:lvl1pPr marL="0" indent="0">
              <a:spcBef>
                <a:spcPts val="1200"/>
              </a:spcBef>
              <a:buClr>
                <a:schemeClr val="tx1"/>
              </a:buClr>
              <a:buFont typeface="Arial" pitchFamily="34" charset="0"/>
              <a:buNone/>
              <a:defRPr sz="12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grpSp>
        <p:nvGrpSpPr>
          <p:cNvPr id="15" name="Group 14">
            <a:extLst>
              <a:ext uri="{FF2B5EF4-FFF2-40B4-BE49-F238E27FC236}">
                <a16:creationId xmlns:a16="http://schemas.microsoft.com/office/drawing/2014/main" id="{57DE9016-B3FE-4D97-B922-A49FA0DC7F69}"/>
              </a:ext>
            </a:extLst>
          </p:cNvPr>
          <p:cNvGrpSpPr/>
          <p:nvPr userDrawn="1"/>
        </p:nvGrpSpPr>
        <p:grpSpPr>
          <a:xfrm>
            <a:off x="436378" y="6431031"/>
            <a:ext cx="11326085" cy="95058"/>
            <a:chOff x="445128" y="6559056"/>
            <a:chExt cx="11553197" cy="96950"/>
          </a:xfrm>
        </p:grpSpPr>
        <p:sp>
          <p:nvSpPr>
            <p:cNvPr id="16" name="TextBox 15">
              <a:extLst>
                <a:ext uri="{FF2B5EF4-FFF2-40B4-BE49-F238E27FC236}">
                  <a16:creationId xmlns:a16="http://schemas.microsoft.com/office/drawing/2014/main" id="{B2220919-C23B-4EF9-89F7-EE10FDDEA88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7" name="Freeform: Shape 16">
              <a:extLst>
                <a:ext uri="{FF2B5EF4-FFF2-40B4-BE49-F238E27FC236}">
                  <a16:creationId xmlns:a16="http://schemas.microsoft.com/office/drawing/2014/main" id="{1899FC3F-B715-4EC5-BC33-60313BC5A75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C5FCE2B4-50B5-4205-8DCB-B0B6FD4F547E}"/>
              </a:ext>
            </a:extLst>
          </p:cNvPr>
          <p:cNvSpPr/>
          <p:nvPr userDrawn="1"/>
        </p:nvSpPr>
        <p:spPr bwMode="auto">
          <a:xfrm>
            <a:off x="11277600" y="6096347"/>
            <a:ext cx="645459" cy="7616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6570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Rectangle 1"/>
          <p:cNvSpPr/>
          <p:nvPr userDrawn="1"/>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42874" y="6415788"/>
            <a:ext cx="986733" cy="362962"/>
          </a:xfrm>
          <a:prstGeom prst="rect">
            <a:avLst/>
          </a:prstGeom>
        </p:spPr>
      </p:pic>
      <p:sp>
        <p:nvSpPr>
          <p:cNvPr id="5" name="Title 1"/>
          <p:cNvSpPr>
            <a:spLocks noGrp="1"/>
          </p:cNvSpPr>
          <p:nvPr>
            <p:ph type="title" hasCustomPrompt="1"/>
          </p:nvPr>
        </p:nvSpPr>
        <p:spPr bwMode="auto">
          <a:xfrm>
            <a:off x="301336" y="273254"/>
            <a:ext cx="11589328" cy="786619"/>
          </a:xfrm>
          <a:noFill/>
        </p:spPr>
        <p:txBody>
          <a:bodyPr lIns="195067" tIns="121917" rIns="195067" bIns="121917" anchor="t" anchorCtr="0">
            <a:normAutofit/>
          </a:bodyPr>
          <a:lstStyle>
            <a:lvl1pPr>
              <a:defRPr sz="3600" spc="0" baseline="0">
                <a:solidFill>
                  <a:srgbClr val="FFFFFF"/>
                </a:solidFill>
                <a:latin typeface="Segoe UI Light"/>
                <a:cs typeface="Segoe UI Light"/>
              </a:defRPr>
            </a:lvl1pPr>
          </a:lstStyle>
          <a:p>
            <a:r>
              <a:rPr lang="en-US"/>
              <a:t>Slide title</a:t>
            </a:r>
          </a:p>
        </p:txBody>
      </p:sp>
      <p:sp>
        <p:nvSpPr>
          <p:cNvPr id="6" name="Text Placeholder 13"/>
          <p:cNvSpPr>
            <a:spLocks noGrp="1"/>
          </p:cNvSpPr>
          <p:nvPr>
            <p:ph type="body" sz="quarter" idx="14" hasCustomPrompt="1"/>
          </p:nvPr>
        </p:nvSpPr>
        <p:spPr>
          <a:xfrm>
            <a:off x="301625" y="1971376"/>
            <a:ext cx="3023466" cy="571307"/>
          </a:xfrm>
        </p:spPr>
        <p:txBody>
          <a:bodyPr/>
          <a:lstStyle>
            <a:lvl1pPr marL="0" indent="0">
              <a:buNone/>
              <a:defRPr b="0" i="0" spc="0">
                <a:latin typeface="Segoe UI Light" charset="0"/>
                <a:ea typeface="Segoe UI Light" charset="0"/>
                <a:cs typeface="Segoe UI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Header</a:t>
            </a:r>
          </a:p>
        </p:txBody>
      </p:sp>
      <p:sp>
        <p:nvSpPr>
          <p:cNvPr id="7" name="Text Placeholder 13"/>
          <p:cNvSpPr>
            <a:spLocks noGrp="1"/>
          </p:cNvSpPr>
          <p:nvPr>
            <p:ph type="body" sz="quarter" idx="15" hasCustomPrompt="1"/>
          </p:nvPr>
        </p:nvSpPr>
        <p:spPr>
          <a:xfrm>
            <a:off x="301625" y="2757995"/>
            <a:ext cx="3023466" cy="3346065"/>
          </a:xfrm>
        </p:spPr>
        <p:txBody>
          <a:bodyPr>
            <a:normAutofit/>
          </a:bodyPr>
          <a:lstStyle>
            <a:lvl1pPr marL="0" indent="0">
              <a:buNone/>
              <a:defRPr sz="1600" spc="0"/>
            </a:lvl1pPr>
            <a:lvl2pPr marL="457200" indent="0">
              <a:buNone/>
              <a:defRPr/>
            </a:lvl2pPr>
            <a:lvl3pPr marL="914400" indent="0">
              <a:buNone/>
              <a:defRPr/>
            </a:lvl3pPr>
            <a:lvl4pPr marL="1371600" indent="0">
              <a:buNone/>
              <a:defRPr/>
            </a:lvl4pPr>
            <a:lvl5pPr marL="1828800" indent="0">
              <a:buNone/>
              <a:defRPr/>
            </a:lvl5pPr>
          </a:lstStyle>
          <a:p>
            <a:pPr lvl="0"/>
            <a:r>
              <a:rPr lang="en-US"/>
              <a:t>Content</a:t>
            </a:r>
          </a:p>
        </p:txBody>
      </p:sp>
      <p:sp>
        <p:nvSpPr>
          <p:cNvPr id="8" name="Text Placeholder 13"/>
          <p:cNvSpPr>
            <a:spLocks noGrp="1"/>
          </p:cNvSpPr>
          <p:nvPr>
            <p:ph type="body" sz="quarter" idx="16" hasCustomPrompt="1"/>
          </p:nvPr>
        </p:nvSpPr>
        <p:spPr>
          <a:xfrm>
            <a:off x="4437207" y="1971376"/>
            <a:ext cx="3023466" cy="571307"/>
          </a:xfrm>
        </p:spPr>
        <p:txBody>
          <a:bodyPr/>
          <a:lstStyle>
            <a:lvl1pPr marL="0" indent="0">
              <a:buNone/>
              <a:defRPr b="0" i="0" spc="0">
                <a:latin typeface="Segoe UI Light" charset="0"/>
                <a:ea typeface="Segoe UI Light" charset="0"/>
                <a:cs typeface="Segoe UI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Header</a:t>
            </a:r>
          </a:p>
        </p:txBody>
      </p:sp>
      <p:sp>
        <p:nvSpPr>
          <p:cNvPr id="9" name="Text Placeholder 13"/>
          <p:cNvSpPr>
            <a:spLocks noGrp="1"/>
          </p:cNvSpPr>
          <p:nvPr>
            <p:ph type="body" sz="quarter" idx="17" hasCustomPrompt="1"/>
          </p:nvPr>
        </p:nvSpPr>
        <p:spPr>
          <a:xfrm>
            <a:off x="4437207" y="2757995"/>
            <a:ext cx="3023466" cy="3346065"/>
          </a:xfrm>
        </p:spPr>
        <p:txBody>
          <a:bodyPr>
            <a:normAutofit/>
          </a:bodyPr>
          <a:lstStyle>
            <a:lvl1pPr marL="0" indent="0">
              <a:buNone/>
              <a:defRPr sz="1600" spc="0"/>
            </a:lvl1pPr>
            <a:lvl2pPr marL="457200" indent="0">
              <a:buNone/>
              <a:defRPr/>
            </a:lvl2pPr>
            <a:lvl3pPr marL="914400" indent="0">
              <a:buNone/>
              <a:defRPr/>
            </a:lvl3pPr>
            <a:lvl4pPr marL="1371600" indent="0">
              <a:buNone/>
              <a:defRPr/>
            </a:lvl4pPr>
            <a:lvl5pPr marL="1828800" indent="0">
              <a:buNone/>
              <a:defRPr/>
            </a:lvl5pPr>
          </a:lstStyle>
          <a:p>
            <a:pPr lvl="0"/>
            <a:r>
              <a:rPr lang="en-US"/>
              <a:t>Content</a:t>
            </a:r>
          </a:p>
        </p:txBody>
      </p:sp>
      <p:sp>
        <p:nvSpPr>
          <p:cNvPr id="10" name="Text Placeholder 13"/>
          <p:cNvSpPr>
            <a:spLocks noGrp="1"/>
          </p:cNvSpPr>
          <p:nvPr>
            <p:ph type="body" sz="quarter" idx="18" hasCustomPrompt="1"/>
          </p:nvPr>
        </p:nvSpPr>
        <p:spPr>
          <a:xfrm>
            <a:off x="8572789" y="1971376"/>
            <a:ext cx="3023466" cy="571307"/>
          </a:xfrm>
        </p:spPr>
        <p:txBody>
          <a:bodyPr/>
          <a:lstStyle>
            <a:lvl1pPr marL="0" indent="0">
              <a:buNone/>
              <a:defRPr b="0" i="0" spc="0">
                <a:latin typeface="Segoe UI Light" charset="0"/>
                <a:ea typeface="Segoe UI Light" charset="0"/>
                <a:cs typeface="Segoe UI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Header</a:t>
            </a:r>
          </a:p>
        </p:txBody>
      </p:sp>
      <p:sp>
        <p:nvSpPr>
          <p:cNvPr id="11" name="Text Placeholder 13"/>
          <p:cNvSpPr>
            <a:spLocks noGrp="1"/>
          </p:cNvSpPr>
          <p:nvPr>
            <p:ph type="body" sz="quarter" idx="19" hasCustomPrompt="1"/>
          </p:nvPr>
        </p:nvSpPr>
        <p:spPr>
          <a:xfrm>
            <a:off x="8572789" y="2757995"/>
            <a:ext cx="3023466" cy="3346065"/>
          </a:xfrm>
        </p:spPr>
        <p:txBody>
          <a:bodyPr>
            <a:normAutofit/>
          </a:bodyPr>
          <a:lstStyle>
            <a:lvl1pPr marL="0" indent="0">
              <a:buNone/>
              <a:defRPr sz="1600" spc="0"/>
            </a:lvl1pPr>
            <a:lvl2pPr marL="457200" indent="0">
              <a:buNone/>
              <a:defRPr/>
            </a:lvl2pPr>
            <a:lvl3pPr marL="914400" indent="0">
              <a:buNone/>
              <a:defRPr/>
            </a:lvl3pPr>
            <a:lvl4pPr marL="1371600" indent="0">
              <a:buNone/>
              <a:defRPr/>
            </a:lvl4pPr>
            <a:lvl5pPr marL="1828800" indent="0">
              <a:buNone/>
              <a:defRPr/>
            </a:lvl5pPr>
          </a:lstStyle>
          <a:p>
            <a:pPr lvl="0"/>
            <a:r>
              <a:rPr lang="en-US"/>
              <a:t>Content</a:t>
            </a:r>
          </a:p>
        </p:txBody>
      </p:sp>
    </p:spTree>
    <p:extLst>
      <p:ext uri="{BB962C8B-B14F-4D97-AF65-F5344CB8AC3E}">
        <p14:creationId xmlns:p14="http://schemas.microsoft.com/office/powerpoint/2010/main" val="419764762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32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591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35448334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2455020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729377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501902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1440880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61153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19165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3187404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9" y="6431005"/>
            <a:ext cx="11326085" cy="94962"/>
            <a:chOff x="445128" y="6559056"/>
            <a:chExt cx="11553197" cy="96853"/>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129652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4736873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800876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889186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338850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11126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80366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579164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5526594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114735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86443"/>
      </p:ext>
    </p:extLst>
  </p:cSld>
  <p:clrMapOvr>
    <a:masterClrMapping/>
  </p:clrMapOvr>
  <p:transition>
    <p:fade/>
  </p:transition>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472613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051700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7270821"/>
      </p:ext>
    </p:extLst>
  </p:cSld>
  <p:clrMapOvr>
    <a:masterClrMapping/>
  </p:clrMapOvr>
  <p:transition>
    <p:fade/>
  </p:transition>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9816548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2222925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18156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256779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5238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137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6876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0791328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355366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4269361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70306662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779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65038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200599925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2735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598600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225866"/>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019189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0407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01334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2953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5540" y="244285"/>
            <a:ext cx="1744034" cy="576853"/>
          </a:xfrm>
          <a:prstGeom prst="rect">
            <a:avLst/>
          </a:prstGeom>
        </p:spPr>
      </p:pic>
    </p:spTree>
    <p:extLst>
      <p:ext uri="{BB962C8B-B14F-4D97-AF65-F5344CB8AC3E}">
        <p14:creationId xmlns:p14="http://schemas.microsoft.com/office/powerpoint/2010/main" val="3744600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7" y="2540313"/>
            <a:ext cx="9401560"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7" y="4342827"/>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485622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9446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9" y="-5610363"/>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lvl="0" algn="ctr" defTabSz="91357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1"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8" y="4342827"/>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654077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587111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07603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7903" y="246985"/>
            <a:ext cx="1741673" cy="576072"/>
          </a:xfrm>
          <a:prstGeom prst="rect">
            <a:avLst/>
          </a:prstGeom>
        </p:spPr>
      </p:pic>
    </p:spTree>
    <p:extLst>
      <p:ext uri="{BB962C8B-B14F-4D97-AF65-F5344CB8AC3E}">
        <p14:creationId xmlns:p14="http://schemas.microsoft.com/office/powerpoint/2010/main" val="2122687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1" y="2575762"/>
            <a:ext cx="8420099" cy="609398"/>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85160"/>
            <a:ext cx="9989821" cy="374398"/>
          </a:xfrm>
        </p:spPr>
        <p:txBody>
          <a:bodyPr>
            <a:spAutoFit/>
          </a:bodyPr>
          <a:lstStyle>
            <a:lvl1pPr marL="0" indent="0" algn="l">
              <a:spcBef>
                <a:spcPts val="0"/>
              </a:spcBef>
              <a:spcAft>
                <a:spcPts val="1200"/>
              </a:spcAft>
              <a:buNone/>
              <a:defRPr sz="2400" b="1" i="0" spc="-60" baseline="0">
                <a:solidFill>
                  <a:schemeClr val="tx2"/>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3216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1979046"/>
            <a:ext cx="4114800" cy="1218795"/>
          </a:xfrm>
          <a:prstGeom prst="rect">
            <a:avLst/>
          </a:prstGeom>
        </p:spPr>
        <p:txBody>
          <a:bodyPr vert="horz" wrap="square" lIns="0" tIns="0" rIns="0" bIns="0" rtlCol="0" anchor="b">
            <a:sp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3197841"/>
            <a:ext cx="4114800" cy="738664"/>
          </a:xfrm>
        </p:spPr>
        <p:txBody>
          <a:bodyPr>
            <a:spAutoFit/>
          </a:bodyPr>
          <a:lstStyle>
            <a:lvl1pPr marL="0" indent="0" algn="l">
              <a:spcBef>
                <a:spcPts val="0"/>
              </a:spcBef>
              <a:spcAft>
                <a:spcPts val="1200"/>
              </a:spcAft>
              <a:buNone/>
              <a:defRPr sz="2400" b="1" i="0" spc="-60" baseline="0">
                <a:solidFill>
                  <a:schemeClr val="tx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userDrawn="1"/>
        </p:nvSpPr>
        <p:spPr>
          <a:xfrm>
            <a:off x="6096000" y="0"/>
            <a:ext cx="6096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976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2"/>
      </p:bgRef>
    </p:bg>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7236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9769527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765"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765">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1099860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962025"/>
            <a:ext cx="11336337" cy="307777"/>
          </a:xfrm>
        </p:spPr>
        <p:txBody>
          <a:bodyPr/>
          <a:lstStyle>
            <a:lvl1pPr>
              <a:defRPr sz="2000" b="0">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458952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441708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14777"/>
          </a:xfrm>
        </p:spPr>
        <p:txBody>
          <a:bodyPr wrap="square" lIns="0" tIns="0" rIns="0" bIns="0">
            <a:spAutoFit/>
          </a:bodyPr>
          <a:lstStyle>
            <a:lvl1pPr marL="0" indent="0">
              <a:lnSpc>
                <a:spcPct val="100000"/>
              </a:lnSpc>
              <a:spcBef>
                <a:spcPts val="0"/>
              </a:spcBef>
              <a:spcAft>
                <a:spcPts val="1371"/>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4109711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8653976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65571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0708416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410160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3670698"/>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4117004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3604610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70188425"/>
      </p:ext>
    </p:extLst>
  </p:cSld>
  <p:clrMapOvr>
    <a:masterClrMapping/>
  </p:clrMapOvr>
  <p:transition>
    <p:fade/>
  </p:transition>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0257036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0780892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4021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83611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6611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3484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2631235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9" y="6431005"/>
            <a:ext cx="11326085" cy="94962"/>
            <a:chOff x="445128" y="6559056"/>
            <a:chExt cx="11553197" cy="96853"/>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3752255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983571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5170705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244682820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967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4278306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989225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01080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34158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225866"/>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757862"/>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3026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405063"/>
            <a:ext cx="5209836" cy="430887"/>
          </a:xfrm>
        </p:spPr>
        <p:txBody>
          <a:bodyPr anchor="b"/>
          <a:lstStyle>
            <a:lvl1pPr algn="l">
              <a:defRPr sz="2800">
                <a:solidFill>
                  <a:schemeClr val="tx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941997"/>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1080252"/>
          </a:xfrm>
          <a:solidFill>
            <a:schemeClr val="tx2"/>
          </a:solidFill>
        </p:spPr>
        <p:txBody>
          <a:bodyPr wrap="none" lIns="45720" tIns="45720" rIns="45720" bIns="45720" anchor="ctr">
            <a:noAutofit/>
          </a:bodyPr>
          <a:lstStyle>
            <a:lvl1pPr marL="511175" indent="0">
              <a:spcBef>
                <a:spcPts val="0"/>
              </a:spcBef>
              <a:spcAft>
                <a:spcPts val="0"/>
              </a:spcAft>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1089207746"/>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4083762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860705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0" y="2322537"/>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1623021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03535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1158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286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8"/>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2"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28023979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39861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6858000"/>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49244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7"/>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434790"/>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3" y="1198937"/>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94992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0" y="3429000"/>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3494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3044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211158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2765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7197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9731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9264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0"/>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28055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551194"/>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57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930977"/>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8"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6" y="4628562"/>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7616225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45983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176834"/>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543784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97705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3"/>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42715492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293499418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5832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41035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893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21449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7537640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9107461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3679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24242565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10225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46819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22340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856905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552168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79999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5704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3231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7106074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04941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5848459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982400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6"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6"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41562181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1196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0386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5311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084187"/>
            <a:ext cx="7171337" cy="1793090"/>
          </a:xfrm>
          <a:noFill/>
        </p:spPr>
        <p:txBody>
          <a:bodyPr lIns="0" tIns="91440" rIns="146304" bIns="91440" anchor="b" anchorCtr="0"/>
          <a:lstStyle>
            <a:lvl1pPr marL="0" indent="0">
              <a:defRPr sz="4800"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218427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589978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60"/>
            <a:ext cx="11655840" cy="899665"/>
          </a:xfrm>
        </p:spPr>
        <p:txBody>
          <a:bodyPr/>
          <a:lstStyle>
            <a:lvl1pPr marL="0" indent="0">
              <a:defRPr sz="4000"/>
            </a:lvl1pPr>
          </a:lstStyle>
          <a:p>
            <a:r>
              <a:rPr lang="en-US"/>
              <a:t>Click to edit Master title style</a:t>
            </a:r>
          </a:p>
        </p:txBody>
      </p:sp>
      <p:sp>
        <p:nvSpPr>
          <p:cNvPr id="12" name="Footer Placeholder 2">
            <a:extLst>
              <a:ext uri="{FF2B5EF4-FFF2-40B4-BE49-F238E27FC236}">
                <a16:creationId xmlns:a16="http://schemas.microsoft.com/office/drawing/2014/main" id="{794D6D46-A209-4A67-9656-35645F199AB3}"/>
              </a:ext>
            </a:extLst>
          </p:cNvPr>
          <p:cNvSpPr>
            <a:spLocks noGrp="1"/>
          </p:cNvSpPr>
          <p:nvPr>
            <p:ph type="ftr" sz="quarter" idx="3"/>
          </p:nvPr>
        </p:nvSpPr>
        <p:spPr>
          <a:xfrm>
            <a:off x="4855263" y="6432816"/>
            <a:ext cx="2481476" cy="364224"/>
          </a:xfrm>
          <a:prstGeom prst="rect">
            <a:avLst/>
          </a:prstGeom>
        </p:spPr>
        <p:txBody>
          <a:bodyPr vert="horz" lIns="75121" tIns="37555" rIns="75121" bIns="37555" rtlCol="0" anchor="ctr"/>
          <a:lstStyle>
            <a:lvl1pPr algn="l">
              <a:defRPr sz="900">
                <a:solidFill>
                  <a:schemeClr val="accent1"/>
                </a:solidFill>
              </a:defRPr>
            </a:lvl1pPr>
          </a:lstStyle>
          <a:p>
            <a:pPr algn="ctr" defTabSz="744802"/>
            <a:r>
              <a:rPr lang="en-US"/>
              <a:t>@Techielass</a:t>
            </a:r>
          </a:p>
        </p:txBody>
      </p:sp>
      <p:sp>
        <p:nvSpPr>
          <p:cNvPr id="16" name="Slide Number Placeholder 4">
            <a:extLst>
              <a:ext uri="{FF2B5EF4-FFF2-40B4-BE49-F238E27FC236}">
                <a16:creationId xmlns:a16="http://schemas.microsoft.com/office/drawing/2014/main" id="{DFB5EC3D-5D4B-4F52-9482-306CE97F25C7}"/>
              </a:ext>
            </a:extLst>
          </p:cNvPr>
          <p:cNvSpPr>
            <a:spLocks noGrp="1"/>
          </p:cNvSpPr>
          <p:nvPr>
            <p:ph type="sldNum" sz="quarter" idx="4"/>
          </p:nvPr>
        </p:nvSpPr>
        <p:spPr>
          <a:xfrm>
            <a:off x="11573565" y="6432816"/>
            <a:ext cx="349196" cy="364224"/>
          </a:xfrm>
          <a:prstGeom prst="rect">
            <a:avLst/>
          </a:prstGeom>
        </p:spPr>
        <p:txBody>
          <a:bodyPr vert="horz" lIns="75121" tIns="37555" rIns="0" bIns="37555" rtlCol="0" anchor="ctr"/>
          <a:lstStyle>
            <a:lvl1pPr algn="r" rtl="0">
              <a:defRPr lang="en-US" sz="900" smtClean="0">
                <a:solidFill>
                  <a:schemeClr val="accent1"/>
                </a:solidFill>
              </a:defRPr>
            </a:lvl1pPr>
          </a:lstStyle>
          <a:p>
            <a:pPr defTabSz="744802"/>
            <a:fld id="{894E8EF0-91FF-4791-8529-F57CE0475C15}" type="slidenum">
              <a:rPr lang="en-US" smtClean="0"/>
              <a:pPr defTabSz="744802"/>
              <a:t>‹#›</a:t>
            </a:fld>
            <a:endParaRPr lang="en-US"/>
          </a:p>
        </p:txBody>
      </p:sp>
    </p:spTree>
    <p:extLst>
      <p:ext uri="{BB962C8B-B14F-4D97-AF65-F5344CB8AC3E}">
        <p14:creationId xmlns:p14="http://schemas.microsoft.com/office/powerpoint/2010/main" val="1322209238"/>
      </p:ext>
    </p:extLst>
  </p:cSld>
  <p:clrMapOvr>
    <a:masterClrMapping/>
  </p:clrMapOvr>
  <p:transition>
    <p:fade/>
  </p:transition>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148753414"/>
      </p:ext>
    </p:extLst>
  </p:cSld>
  <p:clrMapOvr>
    <a:overrideClrMapping bg1="lt1" tx1="dk1" bg2="lt2" tx2="dk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63579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43740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4"/>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Tree>
    <p:extLst>
      <p:ext uri="{BB962C8B-B14F-4D97-AF65-F5344CB8AC3E}">
        <p14:creationId xmlns:p14="http://schemas.microsoft.com/office/powerpoint/2010/main" val="928400498"/>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9622031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2722747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65827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875107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5"/>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3"/>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4" y="292099"/>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2"/>
            <a:ext cx="1999609" cy="25244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3929296034"/>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774540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 Half Righ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662345"/>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Picture Placeholder 3">
            <a:extLst>
              <a:ext uri="{FF2B5EF4-FFF2-40B4-BE49-F238E27FC236}">
                <a16:creationId xmlns:a16="http://schemas.microsoft.com/office/drawing/2014/main" id="{3E3DDA26-DBA2-2A45-B43A-9CE3B693EBAB}"/>
              </a:ext>
            </a:extLst>
          </p:cNvPr>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p>
        </p:txBody>
      </p:sp>
      <p:sp>
        <p:nvSpPr>
          <p:cNvPr id="12" name="Text Placeholder 3">
            <a:extLst>
              <a:ext uri="{FF2B5EF4-FFF2-40B4-BE49-F238E27FC236}">
                <a16:creationId xmlns:a16="http://schemas.microsoft.com/office/drawing/2014/main" id="{AB9B0D99-6E35-4685-B13C-885F12689DE8}"/>
              </a:ext>
            </a:extLst>
          </p:cNvPr>
          <p:cNvSpPr>
            <a:spLocks noGrp="1"/>
          </p:cNvSpPr>
          <p:nvPr>
            <p:ph idx="32"/>
          </p:nvPr>
        </p:nvSpPr>
        <p:spPr>
          <a:xfrm>
            <a:off x="6111904" y="1866900"/>
            <a:ext cx="5622896" cy="4514047"/>
          </a:xfrm>
          <a:prstGeom prst="rect">
            <a:avLst/>
          </a:prstGeom>
        </p:spPr>
        <p:txBody>
          <a:bodyPr vert="horz" wrap="square" lIns="18288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8529974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Half Lef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3">
            <a:extLst>
              <a:ext uri="{FF2B5EF4-FFF2-40B4-BE49-F238E27FC236}">
                <a16:creationId xmlns:a16="http://schemas.microsoft.com/office/drawing/2014/main" id="{3D2F7876-F865-3E4F-9E03-A713436B665E}"/>
              </a:ext>
            </a:extLst>
          </p:cNvPr>
          <p:cNvSpPr>
            <a:spLocks noGrp="1"/>
          </p:cNvSpPr>
          <p:nvPr>
            <p:ph type="pic" sz="quarter" idx="26"/>
          </p:nvPr>
        </p:nvSpPr>
        <p:spPr>
          <a:xfrm>
            <a:off x="6104622" y="1866901"/>
            <a:ext cx="5630178" cy="4229099"/>
          </a:xfrm>
        </p:spPr>
        <p:txBody>
          <a:bodyPr anchor="ctr"/>
          <a:lstStyle>
            <a:lvl1pPr algn="ctr">
              <a:defRPr>
                <a:solidFill>
                  <a:srgbClr val="B4009E"/>
                </a:solidFill>
              </a:defRPr>
            </a:lvl1pPr>
          </a:lstStyle>
          <a:p>
            <a:r>
              <a:rPr lang="en-US"/>
              <a:t>Click icon to add picture</a:t>
            </a:r>
          </a:p>
        </p:txBody>
      </p:sp>
      <p:sp>
        <p:nvSpPr>
          <p:cNvPr id="12" name="Text Placeholder 3">
            <a:extLst>
              <a:ext uri="{FF2B5EF4-FFF2-40B4-BE49-F238E27FC236}">
                <a16:creationId xmlns:a16="http://schemas.microsoft.com/office/drawing/2014/main" id="{62F3502D-7986-42F4-B7B4-FD9AE06392B1}"/>
              </a:ext>
            </a:extLst>
          </p:cNvPr>
          <p:cNvSpPr>
            <a:spLocks noGrp="1"/>
          </p:cNvSpPr>
          <p:nvPr>
            <p:ph idx="32"/>
          </p:nvPr>
        </p:nvSpPr>
        <p:spPr>
          <a:xfrm>
            <a:off x="465151"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7301568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4" name="Text Placeholder 3"/>
          <p:cNvSpPr>
            <a:spLocks noGrp="1"/>
          </p:cNvSpPr>
          <p:nvPr>
            <p:ph idx="26"/>
          </p:nvPr>
        </p:nvSpPr>
        <p:spPr>
          <a:xfrm>
            <a:off x="6103951" y="1866900"/>
            <a:ext cx="563084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61697" cy="722853"/>
          </a:xfrm>
          <a:prstGeom prst="rect">
            <a:avLst/>
          </a:prstGeom>
        </p:spPr>
        <p:txBody>
          <a:bodyPr vert="horz" lIns="0" tIns="0" rIns="0" bIns="0" rtlCol="0" anchor="t">
            <a:normAutofit/>
          </a:bodyPr>
          <a:lstStyle/>
          <a:p>
            <a:r>
              <a:rPr lang="en-US"/>
              <a:t>Click to edit Master title style</a:t>
            </a:r>
          </a:p>
        </p:txBody>
      </p:sp>
      <p:sp>
        <p:nvSpPr>
          <p:cNvPr id="12" name="Shape 78">
            <a:extLst>
              <a:ext uri="{FF2B5EF4-FFF2-40B4-BE49-F238E27FC236}">
                <a16:creationId xmlns:a16="http://schemas.microsoft.com/office/drawing/2014/main" id="{A53FCAFC-5653-0C46-8E56-ADCCBA6F7CB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sp>
        <p:nvSpPr>
          <p:cNvPr id="15" name="Shape 78">
            <a:extLst>
              <a:ext uri="{FF2B5EF4-FFF2-40B4-BE49-F238E27FC236}">
                <a16:creationId xmlns:a16="http://schemas.microsoft.com/office/drawing/2014/main" id="{644AA6BB-203B-E644-8A81-9AF5D2C1454A}"/>
              </a:ext>
            </a:extLst>
          </p:cNvPr>
          <p:cNvSpPr txBox="1">
            <a:spLocks noGrp="1"/>
          </p:cNvSpPr>
          <p:nvPr>
            <p:ph type="body" idx="30" hasCustomPrompt="1"/>
          </p:nvPr>
        </p:nvSpPr>
        <p:spPr>
          <a:xfrm>
            <a:off x="457201" y="1182989"/>
            <a:ext cx="5638800" cy="682523"/>
          </a:xfrm>
          <a:prstGeom prst="rect">
            <a:avLst/>
          </a:prstGeom>
          <a:ln>
            <a:noFill/>
          </a:ln>
        </p:spPr>
        <p:txBody>
          <a:bodyPr vert="horz" wrap="square" lIns="0" tIns="0" rIns="182880" bIns="0"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17" name="Text Placeholder 3">
            <a:extLst>
              <a:ext uri="{FF2B5EF4-FFF2-40B4-BE49-F238E27FC236}">
                <a16:creationId xmlns:a16="http://schemas.microsoft.com/office/drawing/2014/main" id="{BA5B8A30-0D25-46A7-8825-163B12353388}"/>
              </a:ext>
            </a:extLst>
          </p:cNvPr>
          <p:cNvSpPr>
            <a:spLocks noGrp="1"/>
          </p:cNvSpPr>
          <p:nvPr>
            <p:ph idx="31"/>
          </p:nvPr>
        </p:nvSpPr>
        <p:spPr>
          <a:xfrm>
            <a:off x="465151"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034188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69703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0"/>
            <a:ext cx="5622896"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7384926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525863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Tree>
    <p:extLst>
      <p:ext uri="{BB962C8B-B14F-4D97-AF65-F5344CB8AC3E}">
        <p14:creationId xmlns:p14="http://schemas.microsoft.com/office/powerpoint/2010/main" val="377141323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29439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Half Content + Image Right">
    <p:spTree>
      <p:nvGrpSpPr>
        <p:cNvPr id="1" name=""/>
        <p:cNvGrpSpPr/>
        <p:nvPr/>
      </p:nvGrpSpPr>
      <p:grpSpPr>
        <a:xfrm>
          <a:off x="0" y="0"/>
          <a:ext cx="0" cy="0"/>
          <a:chOff x="0" y="0"/>
          <a:chExt cx="0" cy="0"/>
        </a:xfrm>
      </p:grpSpPr>
      <p:sp>
        <p:nvSpPr>
          <p:cNvPr id="4" name="Picture Placeholder 3"/>
          <p:cNvSpPr>
            <a:spLocks noGrp="1"/>
          </p:cNvSpPr>
          <p:nvPr>
            <p:ph type="pic" sz="quarter" idx="24" hasCustomPrompt="1"/>
          </p:nvPr>
        </p:nvSpPr>
        <p:spPr>
          <a:xfrm>
            <a:off x="6096000" y="0"/>
            <a:ext cx="6096000" cy="6858000"/>
          </a:xfrm>
          <a:prstGeom prst="rect">
            <a:avLst/>
          </a:prstGeom>
          <a:noFill/>
        </p:spPr>
        <p:txBody>
          <a:bodyPr anchor="ctr"/>
          <a:lstStyle>
            <a:lvl1pPr algn="ctr">
              <a:defRPr baseline="0">
                <a:solidFill>
                  <a:srgbClr val="B4009E"/>
                </a:solidFill>
              </a:defRPr>
            </a:lvl1pPr>
          </a:lstStyle>
          <a:p>
            <a:r>
              <a:rPr lang="en-US"/>
              <a:t>Drag picture to placeholder </a:t>
            </a:r>
            <a:br>
              <a:rPr lang="en-US"/>
            </a:br>
            <a:r>
              <a:rPr lang="en-US"/>
              <a:t>or click icon to add</a:t>
            </a:r>
          </a:p>
        </p:txBody>
      </p:sp>
      <p:sp>
        <p:nvSpPr>
          <p:cNvPr id="12" name="Title Placeholder 2">
            <a:extLst>
              <a:ext uri="{FF2B5EF4-FFF2-40B4-BE49-F238E27FC236}">
                <a16:creationId xmlns:a16="http://schemas.microsoft.com/office/drawing/2014/main" id="{D67C4168-A193-45C5-93FD-7A782A48CAF5}"/>
              </a:ext>
            </a:extLst>
          </p:cNvPr>
          <p:cNvSpPr>
            <a:spLocks noGrp="1"/>
          </p:cNvSpPr>
          <p:nvPr>
            <p:ph type="title" hasCustomPrompt="1"/>
          </p:nvPr>
        </p:nvSpPr>
        <p:spPr>
          <a:xfrm>
            <a:off x="457201" y="457200"/>
            <a:ext cx="5638798" cy="1409700"/>
          </a:xfrm>
          <a:prstGeom prst="rect">
            <a:avLst/>
          </a:prstGeom>
        </p:spPr>
        <p:txBody>
          <a:bodyPr vert="horz" lIns="0" tIns="0" rIns="0" bIns="0" rtlCol="0" anchor="t">
            <a:normAutofit/>
          </a:bodyPr>
          <a:lstStyle>
            <a:lvl1pPr>
              <a:defRPr>
                <a:solidFill>
                  <a:schemeClr val="tx1"/>
                </a:solidFill>
              </a:defRPr>
            </a:lvl1pPr>
          </a:lstStyle>
          <a:p>
            <a:r>
              <a:rPr lang="en-US"/>
              <a:t>Click to edit title</a:t>
            </a:r>
          </a:p>
        </p:txBody>
      </p:sp>
      <p:sp>
        <p:nvSpPr>
          <p:cNvPr id="9" name="Text Placeholder 3">
            <a:extLst>
              <a:ext uri="{FF2B5EF4-FFF2-40B4-BE49-F238E27FC236}">
                <a16:creationId xmlns:a16="http://schemas.microsoft.com/office/drawing/2014/main" id="{D78D2F5C-C02D-49C4-A3A8-A4526E03FB11}"/>
              </a:ext>
            </a:extLst>
          </p:cNvPr>
          <p:cNvSpPr>
            <a:spLocks noGrp="1"/>
          </p:cNvSpPr>
          <p:nvPr>
            <p:ph idx="32" hasCustomPrompt="1"/>
          </p:nvPr>
        </p:nvSpPr>
        <p:spPr>
          <a:xfrm>
            <a:off x="465151" y="1866900"/>
            <a:ext cx="5630848"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6354103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Half Content +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457200"/>
            <a:ext cx="5638800" cy="1409699"/>
          </a:xfrm>
          <a:prstGeom prst="rect">
            <a:avLst/>
          </a:prstGeom>
        </p:spPr>
        <p:txBody>
          <a:bodyPr lIns="182880" rIns="0">
            <a:noAutofit/>
          </a:bodyPr>
          <a:lstStyle>
            <a:lvl1pPr>
              <a:defRPr sz="4000">
                <a:solidFill>
                  <a:schemeClr val="tx1"/>
                </a:solidFill>
              </a:defRPr>
            </a:lvl1pPr>
          </a:lstStyle>
          <a:p>
            <a:r>
              <a:rPr lang="en-US"/>
              <a:t>Click to edit title</a:t>
            </a:r>
          </a:p>
        </p:txBody>
      </p:sp>
      <p:sp>
        <p:nvSpPr>
          <p:cNvPr id="4" name="Picture Placeholder 3"/>
          <p:cNvSpPr>
            <a:spLocks noGrp="1"/>
          </p:cNvSpPr>
          <p:nvPr>
            <p:ph type="pic" sz="quarter" idx="24" hasCustomPrompt="1"/>
          </p:nvPr>
        </p:nvSpPr>
        <p:spPr>
          <a:xfrm>
            <a:off x="2" y="0"/>
            <a:ext cx="6095998" cy="6858000"/>
          </a:xfrm>
          <a:prstGeom prst="rect">
            <a:avLst/>
          </a:prstGeom>
          <a:noFill/>
        </p:spPr>
        <p:txBody>
          <a:bodyPr anchor="ctr"/>
          <a:lstStyle>
            <a:lvl1pPr algn="ctr">
              <a:defRPr>
                <a:solidFill>
                  <a:srgbClr val="B4009E"/>
                </a:solidFill>
              </a:defRPr>
            </a:lvl1pPr>
          </a:lstStyle>
          <a:p>
            <a:r>
              <a:rPr lang="en-US"/>
              <a:t>Drag picture to placeholder </a:t>
            </a:r>
            <a:br>
              <a:rPr lang="en-US"/>
            </a:br>
            <a:r>
              <a:rPr lang="en-US"/>
              <a:t>or click icon to add</a:t>
            </a:r>
          </a:p>
        </p:txBody>
      </p:sp>
      <p:sp>
        <p:nvSpPr>
          <p:cNvPr id="8" name="Text Placeholder 3">
            <a:extLst>
              <a:ext uri="{FF2B5EF4-FFF2-40B4-BE49-F238E27FC236}">
                <a16:creationId xmlns:a16="http://schemas.microsoft.com/office/drawing/2014/main" id="{234EE12A-7AAD-487D-9648-BCED6CF26CB7}"/>
              </a:ext>
            </a:extLst>
          </p:cNvPr>
          <p:cNvSpPr>
            <a:spLocks noGrp="1"/>
          </p:cNvSpPr>
          <p:nvPr>
            <p:ph idx="32"/>
          </p:nvPr>
        </p:nvSpPr>
        <p:spPr>
          <a:xfrm>
            <a:off x="6096000" y="1866900"/>
            <a:ext cx="5638798" cy="4514047"/>
          </a:xfrm>
          <a:prstGeom prst="rect">
            <a:avLst/>
          </a:prstGeom>
        </p:spPr>
        <p:txBody>
          <a:bodyPr vert="horz" wrap="square" lIns="18288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2167232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STATEMENT + Photo Lef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8FFC3C55-6A91-B044-8174-021C7F0DF431}"/>
              </a:ext>
            </a:extLst>
          </p:cNvPr>
          <p:cNvSpPr>
            <a:spLocks noGrp="1"/>
          </p:cNvSpPr>
          <p:nvPr>
            <p:ph type="body" sz="quarter" idx="29" hasCustomPrompt="1"/>
          </p:nvPr>
        </p:nvSpPr>
        <p:spPr>
          <a:xfrm>
            <a:off x="5762847" y="0"/>
            <a:ext cx="6428185" cy="6858000"/>
          </a:xfrm>
          <a:prstGeom prst="rect">
            <a:avLst/>
          </a:prstGeom>
        </p:spPr>
        <p:txBody>
          <a:bodyPr lIns="274320" tIns="457200" rIns="365760" bIns="457200" anchor="ctr" anchorCtr="0"/>
          <a:lstStyle>
            <a:lvl1pPr>
              <a:defRPr sz="3000" b="1" i="0">
                <a:solidFill>
                  <a:schemeClr val="tx1"/>
                </a:solidFill>
                <a:latin typeface="Segoe UI Semibold" charset="0"/>
                <a:ea typeface="Segoe UI Semibold" charset="0"/>
                <a:cs typeface="Segoe UI Semibold" charset="0"/>
              </a:defRPr>
            </a:lvl1pPr>
          </a:lstStyle>
          <a:p>
            <a:pPr lvl="0"/>
            <a:r>
              <a:rPr lang="en-US"/>
              <a:t>Bold statement goes here.</a:t>
            </a:r>
          </a:p>
        </p:txBody>
      </p:sp>
      <p:sp>
        <p:nvSpPr>
          <p:cNvPr id="3" name="Picture Placeholder 2"/>
          <p:cNvSpPr>
            <a:spLocks noGrp="1"/>
          </p:cNvSpPr>
          <p:nvPr>
            <p:ph type="pic" sz="quarter" idx="11"/>
          </p:nvPr>
        </p:nvSpPr>
        <p:spPr>
          <a:xfrm>
            <a:off x="0" y="0"/>
            <a:ext cx="5762847" cy="6858000"/>
          </a:xfrm>
        </p:spPr>
        <p:txBody>
          <a:bodyPr lIns="91440" tIns="182880" rIns="91440" bIns="182880" anchor="ctr"/>
          <a:lstStyle>
            <a:lvl1pPr marL="0" indent="0" algn="ctr">
              <a:buNone/>
              <a:defRPr>
                <a:solidFill>
                  <a:srgbClr val="B4009E"/>
                </a:solidFill>
              </a:defRPr>
            </a:lvl1pPr>
          </a:lstStyle>
          <a:p>
            <a:r>
              <a:rPr lang="en-US"/>
              <a:t>Click icon to add picture</a:t>
            </a:r>
          </a:p>
        </p:txBody>
      </p:sp>
    </p:spTree>
    <p:extLst>
      <p:ext uri="{BB962C8B-B14F-4D97-AF65-F5344CB8AC3E}">
        <p14:creationId xmlns:p14="http://schemas.microsoft.com/office/powerpoint/2010/main" val="28223210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0" y="457200"/>
            <a:ext cx="11277599" cy="5638800"/>
          </a:xfrm>
          <a:prstGeom prst="rect">
            <a:avLst/>
          </a:prstGeom>
        </p:spPr>
        <p:txBody>
          <a:bodyPr vert="horz" lIns="0" tIns="0" rIns="0" bIns="91440" rtlCol="0" anchor="ctr" anchorCtr="0">
            <a:normAutofit/>
          </a:bodyPr>
          <a:lstStyle>
            <a:lvl1pPr>
              <a:lnSpc>
                <a:spcPct val="110000"/>
              </a:lnSpc>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4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a:t>Click to edit Subhead Master text styles</a:t>
            </a:r>
          </a:p>
          <a:p>
            <a:pPr lvl="1"/>
            <a:r>
              <a:rPr lang="en-US"/>
              <a:t>Second level</a:t>
            </a:r>
          </a:p>
          <a:p>
            <a:pPr lvl="2"/>
            <a:r>
              <a:rPr lang="en-US"/>
              <a:t>Third level</a:t>
            </a:r>
          </a:p>
        </p:txBody>
      </p:sp>
    </p:spTree>
    <p:extLst>
      <p:ext uri="{BB962C8B-B14F-4D97-AF65-F5344CB8AC3E}">
        <p14:creationId xmlns:p14="http://schemas.microsoft.com/office/powerpoint/2010/main" val="198444613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7F1E30F-90B3-4508-AC79-FDBFF960BB8C}"/>
              </a:ext>
            </a:extLst>
          </p:cNvPr>
          <p:cNvSpPr>
            <a:spLocks noGrp="1"/>
          </p:cNvSpPr>
          <p:nvPr>
            <p:ph idx="34"/>
          </p:nvPr>
        </p:nvSpPr>
        <p:spPr>
          <a:xfrm>
            <a:off x="6103951" y="3276600"/>
            <a:ext cx="5630848" cy="31043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hasCustomPrompt="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a:t>Click icon </a:t>
            </a:r>
            <a:br>
              <a:rPr lang="en-US"/>
            </a:br>
            <a:r>
              <a:rPr lang="en-US"/>
              <a:t>to add </a:t>
            </a:r>
            <a:br>
              <a:rPr lang="en-US"/>
            </a:br>
            <a:r>
              <a:rPr lang="en-US"/>
              <a:t>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Twitter: @handle</a:t>
            </a:r>
          </a:p>
          <a:p>
            <a:pPr lvl="0"/>
            <a:r>
              <a:rPr lang="en-US"/>
              <a:t>Email: </a:t>
            </a:r>
            <a:r>
              <a:rPr lang="en-US" err="1"/>
              <a:t>email@Microsoft.com</a:t>
            </a:r>
            <a:endParaRPr lang="en-US"/>
          </a:p>
        </p:txBody>
      </p:sp>
      <p:sp>
        <p:nvSpPr>
          <p:cNvPr id="9" name="Footer Placeholder 6" hidden="1">
            <a:extLst>
              <a:ext uri="{FF2B5EF4-FFF2-40B4-BE49-F238E27FC236}">
                <a16:creationId xmlns:a16="http://schemas.microsoft.com/office/drawing/2014/main" id="{3CAB610D-9FDA-664B-88C5-3D66189F6F1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3" name="Text Placeholder 3">
            <a:extLst>
              <a:ext uri="{FF2B5EF4-FFF2-40B4-BE49-F238E27FC236}">
                <a16:creationId xmlns:a16="http://schemas.microsoft.com/office/drawing/2014/main" id="{61049F32-FBDB-40C5-9199-3991B2F5A71D}"/>
              </a:ext>
            </a:extLst>
          </p:cNvPr>
          <p:cNvSpPr>
            <a:spLocks noGrp="1"/>
          </p:cNvSpPr>
          <p:nvPr>
            <p:ph idx="33"/>
          </p:nvPr>
        </p:nvSpPr>
        <p:spPr>
          <a:xfrm>
            <a:off x="465151" y="1181100"/>
            <a:ext cx="5630849" cy="51998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4766569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8"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1" y="1488127"/>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2" y="3276600"/>
            <a:ext cx="3496057" cy="2095500"/>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0"/>
            <a:ext cx="3503300"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2"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1"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0"/>
            <a:ext cx="3543301"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0"/>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p:nvCxnSpPr>
        <p:spPr>
          <a:xfrm flipV="1">
            <a:off x="432435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p:nvCxnSpPr>
        <p:spPr>
          <a:xfrm>
            <a:off x="8229600"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273205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143105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6"/>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8"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0"/>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p:nvCxnSpPr>
        <p:spPr>
          <a:xfrm>
            <a:off x="1181100" y="3909418"/>
            <a:ext cx="42291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p:nvCxnSpPr>
        <p:spPr>
          <a:xfrm>
            <a:off x="6819900" y="3916700"/>
            <a:ext cx="41910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29"/>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0" y="3999831"/>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0"/>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02768966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0"/>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One-line summary</a:t>
            </a:r>
          </a:p>
        </p:txBody>
      </p:sp>
      <p:sp>
        <p:nvSpPr>
          <p:cNvPr id="15" name="Content Placeholder 3"/>
          <p:cNvSpPr>
            <a:spLocks noGrp="1"/>
          </p:cNvSpPr>
          <p:nvPr>
            <p:ph sz="quarter" idx="22" hasCustomPrompt="1"/>
          </p:nvPr>
        </p:nvSpPr>
        <p:spPr>
          <a:xfrm>
            <a:off x="7505700" y="4702768"/>
            <a:ext cx="4229100" cy="1698031"/>
          </a:xfrm>
          <a:prstGeom prst="rect">
            <a:avLst/>
          </a:prstGeom>
        </p:spPr>
        <p:txBody>
          <a:bodyPr vert="horz" lIns="137160" tIns="109728" rIns="137160" bIns="109728" rtlCol="0" anchor="t">
            <a:noAutofit/>
          </a:bodyPr>
          <a:lstStyle>
            <a:lvl1pPr>
              <a:defRPr kumimoji="0" lang="en-US" sz="2000" b="0" i="0" u="none" strike="noStrike" cap="none" spc="0" normalizeH="0" baseline="0" dirty="0">
                <a:ln>
                  <a:noFill/>
                </a:ln>
                <a:solidFill>
                  <a:schemeClr val="accent1"/>
                </a:solidFill>
                <a:uLnTx/>
                <a:uFillTx/>
                <a:latin typeface="Segoe UI" charset="0"/>
                <a:ea typeface="Segoe UI" charset="0"/>
                <a:cs typeface="Segoe UI" charset="0"/>
              </a:defRPr>
            </a:lvl1pPr>
          </a:lstStyle>
          <a:p>
            <a:pPr marR="0" lvl="0" defTabSz="685800" fontAlgn="auto">
              <a:spcBef>
                <a:spcPts val="1200"/>
              </a:spcBef>
              <a:spcAft>
                <a:spcPts val="0"/>
              </a:spcAft>
              <a:buClrTx/>
              <a:buSzTx/>
              <a:buFont typeface="Arial" panose="020B0604020202020204" pitchFamily="34" charset="0"/>
              <a:tabLst/>
            </a:pPr>
            <a:r>
              <a:rPr lang="en-US"/>
              <a:t>Killer quote or call-out</a:t>
            </a:r>
          </a:p>
        </p:txBody>
      </p:sp>
      <p:sp>
        <p:nvSpPr>
          <p:cNvPr id="10" name="Picture Placeholder 3"/>
          <p:cNvSpPr>
            <a:spLocks noGrp="1"/>
          </p:cNvSpPr>
          <p:nvPr>
            <p:ph type="pic" sz="quarter" idx="23" hasCustomPrompt="1"/>
          </p:nvPr>
        </p:nvSpPr>
        <p:spPr>
          <a:xfrm>
            <a:off x="7505700" y="1850433"/>
            <a:ext cx="4229100" cy="2835867"/>
          </a:xfrm>
        </p:spPr>
        <p:txBody>
          <a:bodyPr anchor="ctr"/>
          <a:lstStyle>
            <a:lvl1pPr algn="ctr">
              <a:defRPr>
                <a:solidFill>
                  <a:srgbClr val="B4009E"/>
                </a:solidFill>
              </a:defRPr>
            </a:lvl1pPr>
          </a:lstStyle>
          <a:p>
            <a:r>
              <a:rPr lang="en-US"/>
              <a:t>Screenshot of app</a:t>
            </a:r>
          </a:p>
        </p:txBody>
      </p:sp>
      <p:sp>
        <p:nvSpPr>
          <p:cNvPr id="11" name="Picture Placeholder 5"/>
          <p:cNvSpPr>
            <a:spLocks noGrp="1" noChangeAspect="1"/>
          </p:cNvSpPr>
          <p:nvPr>
            <p:ph type="pic" sz="quarter" idx="27" hasCustomPrompt="1"/>
          </p:nvPr>
        </p:nvSpPr>
        <p:spPr>
          <a:xfrm>
            <a:off x="10325100" y="457200"/>
            <a:ext cx="1409700" cy="1409700"/>
          </a:xfrm>
        </p:spPr>
        <p:txBody>
          <a:bodyPr anchor="ctr"/>
          <a:lstStyle>
            <a:lvl1pPr algn="ctr">
              <a:defRPr sz="1600">
                <a:solidFill>
                  <a:srgbClr val="B4009E"/>
                </a:solidFill>
              </a:defRPr>
            </a:lvl1pPr>
          </a:lstStyle>
          <a:p>
            <a:r>
              <a:rPr lang="en-US"/>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1"/>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2" name="Footer Placeholder 6" hidden="1">
            <a:extLst>
              <a:ext uri="{FF2B5EF4-FFF2-40B4-BE49-F238E27FC236}">
                <a16:creationId xmlns:a16="http://schemas.microsoft.com/office/drawing/2014/main" id="{D706C368-32EC-8046-A75E-5C873EF24AF6}"/>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7" name="Text Placeholder 3">
            <a:extLst>
              <a:ext uri="{FF2B5EF4-FFF2-40B4-BE49-F238E27FC236}">
                <a16:creationId xmlns:a16="http://schemas.microsoft.com/office/drawing/2014/main" id="{F37B0F2F-B5E1-40A6-9340-FE71343E99B5}"/>
              </a:ext>
            </a:extLst>
          </p:cNvPr>
          <p:cNvSpPr>
            <a:spLocks noGrp="1"/>
          </p:cNvSpPr>
          <p:nvPr>
            <p:ph idx="32"/>
          </p:nvPr>
        </p:nvSpPr>
        <p:spPr>
          <a:xfrm>
            <a:off x="465151" y="1866900"/>
            <a:ext cx="704054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5450303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087344" y="4851708"/>
            <a:ext cx="5631517" cy="1564792"/>
          </a:xfrm>
          <a:prstGeom prst="rect">
            <a:avLst/>
          </a:prstGeom>
          <a:noFill/>
          <a:ln w="12700">
            <a:noFill/>
          </a:ln>
        </p:spPr>
        <p:txBody>
          <a:bodyPr vert="horz" lIns="182880" tIns="0" rIns="0" bIns="0" rtlCol="0">
            <a:normAutofit/>
          </a:bodyPr>
          <a:lstStyle>
            <a:lvl1pPr marL="0" indent="0">
              <a:defRPr sz="2000" b="0" i="0" dirty="0">
                <a:solidFill>
                  <a:schemeClr val="tx1"/>
                </a:solidFill>
                <a:latin typeface="Segoe UI" charset="0"/>
                <a:ea typeface="Segoe UI" charset="0"/>
                <a:cs typeface="Segoe UI" charset="0"/>
              </a:defRPr>
            </a:lvl1pPr>
          </a:lstStyle>
          <a:p>
            <a:pPr lvl="0"/>
            <a:r>
              <a:rPr lang="en-US"/>
              <a:t>Reason to believe</a:t>
            </a:r>
          </a:p>
          <a:p>
            <a:pPr lvl="0"/>
            <a:r>
              <a:rPr lang="en-US"/>
              <a:t>Reason to believe</a:t>
            </a:r>
          </a:p>
        </p:txBody>
      </p:sp>
      <p:sp>
        <p:nvSpPr>
          <p:cNvPr id="12" name="Shape 69"/>
          <p:cNvSpPr txBox="1">
            <a:spLocks noGrp="1"/>
          </p:cNvSpPr>
          <p:nvPr>
            <p:ph type="body" idx="23" hasCustomPrompt="1"/>
          </p:nvPr>
        </p:nvSpPr>
        <p:spPr>
          <a:xfrm>
            <a:off x="6103282" y="2757189"/>
            <a:ext cx="5631517" cy="1412875"/>
          </a:xfrm>
          <a:prstGeom prst="rect">
            <a:avLst/>
          </a:prstGeom>
          <a:noFill/>
          <a:ln w="12700">
            <a:noFill/>
          </a:ln>
        </p:spPr>
        <p:txBody>
          <a:bodyPr vert="horz" lIns="182880" tIns="0" rIns="0" bIns="0" rtlCol="0">
            <a:normAutofit/>
          </a:bodyPr>
          <a:lstStyle>
            <a:lvl1pPr>
              <a:defRPr sz="2000" b="0" i="0" dirty="0">
                <a:solidFill>
                  <a:schemeClr val="tx1"/>
                </a:solidFill>
                <a:latin typeface="Segoe UI" charset="0"/>
                <a:ea typeface="Segoe UI" charset="0"/>
                <a:cs typeface="Segoe UI" charset="0"/>
              </a:defRPr>
            </a:lvl1pPr>
          </a:lstStyle>
          <a:p>
            <a:pPr lvl="0"/>
            <a:r>
              <a:rPr lang="en-US"/>
              <a:t>Reason to believe</a:t>
            </a:r>
          </a:p>
          <a:p>
            <a:pPr lvl="0"/>
            <a:r>
              <a:rPr lang="en-US"/>
              <a:t>Reason to believe</a:t>
            </a:r>
            <a:endParaRPr/>
          </a:p>
        </p:txBody>
      </p:sp>
      <p:sp>
        <p:nvSpPr>
          <p:cNvPr id="9" name="Picture Placeholder 3"/>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0"/>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087344" y="3960546"/>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0"/>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8091116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2" y="5561745"/>
            <a:ext cx="7032813"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2" name="Text Placeholder 3"/>
          <p:cNvSpPr>
            <a:spLocks noGrp="1"/>
          </p:cNvSpPr>
          <p:nvPr>
            <p:ph type="body" sz="quarter" idx="27" hasCustomPrompt="1"/>
          </p:nvPr>
        </p:nvSpPr>
        <p:spPr>
          <a:xfrm>
            <a:off x="10325100" y="3283551"/>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7" name="Picture Placeholder 13"/>
          <p:cNvSpPr>
            <a:spLocks noGrp="1"/>
          </p:cNvSpPr>
          <p:nvPr>
            <p:ph type="pic" sz="quarter" idx="32"/>
          </p:nvPr>
        </p:nvSpPr>
        <p:spPr>
          <a:xfrm>
            <a:off x="92427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30" name="Text Placeholder 3"/>
          <p:cNvSpPr>
            <a:spLocks noGrp="1"/>
          </p:cNvSpPr>
          <p:nvPr>
            <p:ph type="body" sz="quarter" idx="35" hasCustomPrompt="1"/>
          </p:nvPr>
        </p:nvSpPr>
        <p:spPr>
          <a:xfrm>
            <a:off x="7505700" y="2639727"/>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3" name="Text Placeholder 3"/>
          <p:cNvSpPr>
            <a:spLocks noGrp="1"/>
          </p:cNvSpPr>
          <p:nvPr>
            <p:ph type="body" sz="quarter" idx="38" hasCustomPrompt="1"/>
          </p:nvPr>
        </p:nvSpPr>
        <p:spPr>
          <a:xfrm>
            <a:off x="8915401"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37" name="Content Placeholder 3"/>
          <p:cNvSpPr>
            <a:spLocks noGrp="1"/>
          </p:cNvSpPr>
          <p:nvPr>
            <p:ph sz="quarter" idx="15" hasCustomPrompt="1"/>
          </p:nvPr>
        </p:nvSpPr>
        <p:spPr>
          <a:xfrm>
            <a:off x="457201" y="1051560"/>
            <a:ext cx="11277600" cy="520722"/>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a:t>Click to edit text</a:t>
            </a:r>
          </a:p>
        </p:txBody>
      </p:sp>
      <p:sp>
        <p:nvSpPr>
          <p:cNvPr id="38" name="Shape 69"/>
          <p:cNvSpPr txBox="1">
            <a:spLocks noGrp="1"/>
          </p:cNvSpPr>
          <p:nvPr>
            <p:ph type="body" idx="44" hasCustomPrompt="1"/>
          </p:nvPr>
        </p:nvSpPr>
        <p:spPr>
          <a:xfrm>
            <a:off x="473102" y="2452613"/>
            <a:ext cx="7032705" cy="812800"/>
          </a:xfrm>
          <a:prstGeom prst="rect">
            <a:avLst/>
          </a:prstGeom>
        </p:spPr>
        <p:txBody>
          <a:bodyPr vert="horz" lIns="0" tIns="0" rIns="274320" bIns="0" rtlCol="0">
            <a:normAutofit/>
          </a:bodyPr>
          <a:lstStyle>
            <a:lvl1pPr marL="230188" indent="-176213">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1" name="Shape 69"/>
          <p:cNvSpPr txBox="1">
            <a:spLocks noGrp="1"/>
          </p:cNvSpPr>
          <p:nvPr>
            <p:ph type="body" idx="47" hasCustomPrompt="1"/>
          </p:nvPr>
        </p:nvSpPr>
        <p:spPr>
          <a:xfrm>
            <a:off x="473102" y="3992779"/>
            <a:ext cx="7032705"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a:t>Bullet level one</a:t>
            </a:r>
          </a:p>
          <a:p>
            <a:pPr lvl="0">
              <a:spcBef>
                <a:spcPts val="0"/>
              </a:spcBef>
            </a:pPr>
            <a:r>
              <a:rPr lang="en-US"/>
              <a:t>Bullet level two</a:t>
            </a:r>
            <a:endParaRPr/>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2" y="1756923"/>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2" y="3283551"/>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2" y="4850048"/>
            <a:ext cx="7032705"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2" y="213678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2" y="366650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2"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2"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0" name="Picture Placeholder 13"/>
          <p:cNvSpPr>
            <a:spLocks noGrp="1"/>
          </p:cNvSpPr>
          <p:nvPr>
            <p:ph type="pic" sz="quarter" idx="57"/>
          </p:nvPr>
        </p:nvSpPr>
        <p:spPr>
          <a:xfrm>
            <a:off x="78711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3" name="Text Placeholder 3"/>
          <p:cNvSpPr>
            <a:spLocks noGrp="1"/>
          </p:cNvSpPr>
          <p:nvPr>
            <p:ph type="body" sz="quarter" idx="59" hasCustomPrompt="1"/>
          </p:nvPr>
        </p:nvSpPr>
        <p:spPr>
          <a:xfrm>
            <a:off x="7505700" y="4049141"/>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45" name="Text Placeholder 3"/>
          <p:cNvSpPr>
            <a:spLocks noGrp="1"/>
          </p:cNvSpPr>
          <p:nvPr>
            <p:ph type="body" sz="quarter" idx="60" hasCustomPrompt="1"/>
          </p:nvPr>
        </p:nvSpPr>
        <p:spPr>
          <a:xfrm>
            <a:off x="8915401"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4" name="Picture Placeholder 13"/>
          <p:cNvSpPr>
            <a:spLocks noGrp="1"/>
          </p:cNvSpPr>
          <p:nvPr>
            <p:ph type="pic" sz="quarter" idx="61"/>
          </p:nvPr>
        </p:nvSpPr>
        <p:spPr>
          <a:xfrm>
            <a:off x="78711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6" name="Text Placeholder 3"/>
          <p:cNvSpPr>
            <a:spLocks noGrp="1"/>
          </p:cNvSpPr>
          <p:nvPr>
            <p:ph type="body" sz="quarter" idx="63" hasCustomPrompt="1"/>
          </p:nvPr>
        </p:nvSpPr>
        <p:spPr>
          <a:xfrm>
            <a:off x="7505700" y="5451679"/>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
        <p:nvSpPr>
          <p:cNvPr id="57" name="Text Placeholder 3"/>
          <p:cNvSpPr>
            <a:spLocks noGrp="1"/>
          </p:cNvSpPr>
          <p:nvPr>
            <p:ph type="body" sz="quarter" idx="64" hasCustomPrompt="1"/>
          </p:nvPr>
        </p:nvSpPr>
        <p:spPr>
          <a:xfrm>
            <a:off x="8915401"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a:t>Subtitle</a:t>
            </a:r>
          </a:p>
        </p:txBody>
      </p:sp>
    </p:spTree>
    <p:extLst>
      <p:ext uri="{BB962C8B-B14F-4D97-AF65-F5344CB8AC3E}">
        <p14:creationId xmlns:p14="http://schemas.microsoft.com/office/powerpoint/2010/main" val="316517616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9475192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4181792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200"/>
            <a:ext cx="4914900" cy="56388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73103" y="457200"/>
            <a:ext cx="6346797" cy="1409700"/>
          </a:xfrm>
          <a:prstGeom prst="rect">
            <a:avLst/>
          </a:prstGeom>
        </p:spPr>
        <p:txBody>
          <a:bodyPr vert="horz" lIns="0" tIns="0" rIns="274320" bIns="0" rtlCol="0" anchor="t">
            <a:normAutofit/>
          </a:bodyPr>
          <a:lstStyle>
            <a:lvl1pPr>
              <a:defRPr>
                <a:solidFill>
                  <a:schemeClr val="tx1"/>
                </a:solidFill>
              </a:defRPr>
            </a:lvl1pPr>
          </a:lstStyle>
          <a:p>
            <a:r>
              <a:rPr lang="en-US"/>
              <a:t>Click to edit title style</a:t>
            </a:r>
          </a:p>
        </p:txBody>
      </p:sp>
      <p:sp>
        <p:nvSpPr>
          <p:cNvPr id="9" name="Text Placeholder 3">
            <a:extLst>
              <a:ext uri="{FF2B5EF4-FFF2-40B4-BE49-F238E27FC236}">
                <a16:creationId xmlns:a16="http://schemas.microsoft.com/office/drawing/2014/main" id="{786132D9-558F-43FA-A358-E04195E8D55B}"/>
              </a:ext>
            </a:extLst>
          </p:cNvPr>
          <p:cNvSpPr>
            <a:spLocks noGrp="1"/>
          </p:cNvSpPr>
          <p:nvPr>
            <p:ph idx="32"/>
          </p:nvPr>
        </p:nvSpPr>
        <p:spPr>
          <a:xfrm>
            <a:off x="465151" y="1866900"/>
            <a:ext cx="6354749" cy="4514047"/>
          </a:xfrm>
          <a:prstGeom prst="rect">
            <a:avLst/>
          </a:prstGeom>
        </p:spPr>
        <p:txBody>
          <a:bodyPr vert="horz" wrap="square" lIns="0" tIns="0" rIns="0" bIns="0" rtlCol="0">
            <a:noAutofit/>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1402261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7" name="Text Placeholder 3">
            <a:extLst>
              <a:ext uri="{FF2B5EF4-FFF2-40B4-BE49-F238E27FC236}">
                <a16:creationId xmlns:a16="http://schemas.microsoft.com/office/drawing/2014/main" id="{43C97EDA-C329-4763-94A9-481275DDA967}"/>
              </a:ext>
            </a:extLst>
          </p:cNvPr>
          <p:cNvSpPr>
            <a:spLocks noGrp="1"/>
          </p:cNvSpPr>
          <p:nvPr>
            <p:ph idx="32"/>
          </p:nvPr>
        </p:nvSpPr>
        <p:spPr>
          <a:xfrm>
            <a:off x="465151" y="1866900"/>
            <a:ext cx="11269648" cy="4514047"/>
          </a:xfrm>
          <a:prstGeom prst="rect">
            <a:avLst/>
          </a:prstGeom>
        </p:spPr>
        <p:txBody>
          <a:bodyPr vert="horz" wrap="square" lIns="0" tIns="18288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14946106"/>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8" name="Text Placeholder 3">
            <a:extLst>
              <a:ext uri="{FF2B5EF4-FFF2-40B4-BE49-F238E27FC236}">
                <a16:creationId xmlns:a16="http://schemas.microsoft.com/office/drawing/2014/main" id="{664C69D1-7665-4677-BC3E-0E20C655F8C4}"/>
              </a:ext>
            </a:extLst>
          </p:cNvPr>
          <p:cNvSpPr>
            <a:spLocks noGrp="1"/>
          </p:cNvSpPr>
          <p:nvPr>
            <p:ph idx="26" hasCustomPrompt="1"/>
          </p:nvPr>
        </p:nvSpPr>
        <p:spPr>
          <a:xfrm>
            <a:off x="6111904" y="1866900"/>
            <a:ext cx="5622896" cy="4514047"/>
          </a:xfrm>
          <a:prstGeom prst="rect">
            <a:avLst/>
          </a:prstGeom>
        </p:spPr>
        <p:txBody>
          <a:bodyPr vert="horz" wrap="square" lIns="0" tIns="182880" rIns="0" bIns="0" rtlCol="0">
            <a:noAutofit/>
          </a:bodyPr>
          <a:lstStyle>
            <a:lvl2pPr>
              <a:lnSpc>
                <a:spcPct val="110000"/>
              </a:lnSpc>
              <a:defRPr/>
            </a:lvl2pPr>
            <a:lvl3pPr>
              <a:lnSpc>
                <a:spcPct val="110000"/>
              </a:lnSpc>
              <a:defRPr/>
            </a:lvl3pPr>
            <a:lvl4pPr>
              <a:lnSpc>
                <a:spcPct val="110000"/>
              </a:lnSpc>
              <a:defRPr/>
            </a:lvl4pPr>
            <a:lvl5pPr>
              <a:lnSpc>
                <a:spcPct val="110000"/>
              </a:lnSpc>
              <a:buClr>
                <a:schemeClr val="tx1"/>
              </a:buClr>
              <a:defRPr b="0" i="0">
                <a:latin typeface="Segoe UI" charset="0"/>
                <a:ea typeface="Segoe UI" charset="0"/>
                <a:cs typeface="Segoe UI" charset="0"/>
              </a:defRPr>
            </a:lvl5pPr>
            <a:lvl6pPr marL="1965221">
              <a:lnSpc>
                <a:spcPct val="110000"/>
              </a:lnSpc>
              <a:defRPr baseline="300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9" name="Text Placeholder 3">
            <a:extLst>
              <a:ext uri="{FF2B5EF4-FFF2-40B4-BE49-F238E27FC236}">
                <a16:creationId xmlns:a16="http://schemas.microsoft.com/office/drawing/2014/main" id="{9BCECAC6-5C8B-454E-A52C-D80616B32EC9}"/>
              </a:ext>
            </a:extLst>
          </p:cNvPr>
          <p:cNvSpPr>
            <a:spLocks noGrp="1"/>
          </p:cNvSpPr>
          <p:nvPr>
            <p:ph idx="33"/>
          </p:nvPr>
        </p:nvSpPr>
        <p:spPr>
          <a:xfrm>
            <a:off x="465151" y="1866900"/>
            <a:ext cx="5646753" cy="4514047"/>
          </a:xfrm>
          <a:prstGeom prst="rect">
            <a:avLst/>
          </a:prstGeom>
        </p:spPr>
        <p:txBody>
          <a:bodyPr vert="horz" wrap="square" lIns="0" tIns="18288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096349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57201" y="1181100"/>
            <a:ext cx="11277600" cy="1039586"/>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2" y="457200"/>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6"/>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10" name="Text Placeholder 3">
            <a:extLst>
              <a:ext uri="{FF2B5EF4-FFF2-40B4-BE49-F238E27FC236}">
                <a16:creationId xmlns:a16="http://schemas.microsoft.com/office/drawing/2014/main" id="{03581DFA-7055-4732-A05C-2E32A0582834}"/>
              </a:ext>
            </a:extLst>
          </p:cNvPr>
          <p:cNvSpPr>
            <a:spLocks noGrp="1"/>
          </p:cNvSpPr>
          <p:nvPr>
            <p:ph idx="26"/>
          </p:nvPr>
        </p:nvSpPr>
        <p:spPr>
          <a:xfrm>
            <a:off x="6111904" y="3274985"/>
            <a:ext cx="5622896"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CC8D9B0A-6DBF-44F9-8A59-8CE436F8C287}"/>
              </a:ext>
            </a:extLst>
          </p:cNvPr>
          <p:cNvSpPr>
            <a:spLocks noGrp="1"/>
          </p:cNvSpPr>
          <p:nvPr>
            <p:ph idx="33"/>
          </p:nvPr>
        </p:nvSpPr>
        <p:spPr>
          <a:xfrm>
            <a:off x="465151" y="3274985"/>
            <a:ext cx="5646753"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08449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11A06-9BF0-4A4A-B25B-026208286A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0EEF0E-055A-4D13-ADC4-373AECF1815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1D5458-7FE3-458A-8972-16BDA547E7F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BEFB382-EC54-4EE5-BBDD-1332E7708A7D}"/>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7BD4084B-4B22-4262-91BC-60BB296C2ED9}"/>
              </a:ext>
            </a:extLst>
          </p:cNvPr>
          <p:cNvSpPr>
            <a:spLocks noGrp="1"/>
          </p:cNvSpPr>
          <p:nvPr>
            <p:ph type="sldNum" sz="quarter" idx="12"/>
          </p:nvPr>
        </p:nvSpPr>
        <p:spPr/>
        <p:txBody>
          <a:bodyPr/>
          <a:lstStyle/>
          <a:p>
            <a:fld id="{A03CE7EC-D612-4111-8F4F-C2D6E8B71F77}" type="slidenum">
              <a:rPr lang="en-US" smtClean="0"/>
              <a:t>‹#›</a:t>
            </a:fld>
            <a:endParaRPr lang="en-US"/>
          </a:p>
        </p:txBody>
      </p:sp>
      <p:pic>
        <p:nvPicPr>
          <p:cNvPr id="7" name="Picture 6">
            <a:extLst>
              <a:ext uri="{FF2B5EF4-FFF2-40B4-BE49-F238E27FC236}">
                <a16:creationId xmlns:a16="http://schemas.microsoft.com/office/drawing/2014/main" id="{0437BB9B-67BA-41E2-87DA-AAF658010BE4}"/>
              </a:ext>
            </a:extLst>
          </p:cNvPr>
          <p:cNvPicPr>
            <a:picLocks noChangeAspect="1"/>
          </p:cNvPicPr>
          <p:nvPr userDrawn="1"/>
        </p:nvPicPr>
        <p:blipFill>
          <a:blip r:embed="rId2"/>
          <a:stretch>
            <a:fillRect/>
          </a:stretch>
        </p:blipFill>
        <p:spPr>
          <a:xfrm>
            <a:off x="121950" y="115743"/>
            <a:ext cx="716250" cy="301000"/>
          </a:xfrm>
          <a:prstGeom prst="rect">
            <a:avLst/>
          </a:prstGeom>
        </p:spPr>
      </p:pic>
      <p:pic>
        <p:nvPicPr>
          <p:cNvPr id="8" name="Picture 7">
            <a:extLst>
              <a:ext uri="{FF2B5EF4-FFF2-40B4-BE49-F238E27FC236}">
                <a16:creationId xmlns:a16="http://schemas.microsoft.com/office/drawing/2014/main" id="{83B1E9B1-931C-4799-B9C0-8C01F6CCD0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50957" y="196241"/>
            <a:ext cx="591562" cy="441004"/>
          </a:xfrm>
          <a:prstGeom prst="rect">
            <a:avLst/>
          </a:prstGeom>
        </p:spPr>
      </p:pic>
    </p:spTree>
    <p:extLst>
      <p:ext uri="{BB962C8B-B14F-4D97-AF65-F5344CB8AC3E}">
        <p14:creationId xmlns:p14="http://schemas.microsoft.com/office/powerpoint/2010/main" val="393144283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57201" y="1181100"/>
            <a:ext cx="11277600" cy="14097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2"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endParaRPr/>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6"/>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a:t>Click to edit text</a:t>
            </a:r>
          </a:p>
        </p:txBody>
      </p:sp>
      <p:sp>
        <p:nvSpPr>
          <p:cNvPr id="11" name="Text Placeholder 3">
            <a:extLst>
              <a:ext uri="{FF2B5EF4-FFF2-40B4-BE49-F238E27FC236}">
                <a16:creationId xmlns:a16="http://schemas.microsoft.com/office/drawing/2014/main" id="{21B74D50-B0C8-4EC5-BBCB-FF57490D099D}"/>
              </a:ext>
            </a:extLst>
          </p:cNvPr>
          <p:cNvSpPr>
            <a:spLocks noGrp="1"/>
          </p:cNvSpPr>
          <p:nvPr>
            <p:ph idx="26"/>
          </p:nvPr>
        </p:nvSpPr>
        <p:spPr>
          <a:xfrm>
            <a:off x="6111904" y="4021746"/>
            <a:ext cx="5622896"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41B35573-078F-4514-BAB3-8768D60B9FDF}"/>
              </a:ext>
            </a:extLst>
          </p:cNvPr>
          <p:cNvSpPr>
            <a:spLocks noGrp="1"/>
          </p:cNvSpPr>
          <p:nvPr>
            <p:ph idx="33"/>
          </p:nvPr>
        </p:nvSpPr>
        <p:spPr>
          <a:xfrm>
            <a:off x="465151" y="4021746"/>
            <a:ext cx="5646753"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0629856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9" name="Shape 69"/>
          <p:cNvSpPr txBox="1">
            <a:spLocks noGrp="1"/>
          </p:cNvSpPr>
          <p:nvPr>
            <p:ph type="body" idx="44" hasCustomPrompt="1"/>
          </p:nvPr>
        </p:nvSpPr>
        <p:spPr>
          <a:xfrm>
            <a:off x="6102108" y="2590800"/>
            <a:ext cx="5624740" cy="6858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0" y="4678833"/>
            <a:ext cx="5623114" cy="693267"/>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1"/>
            <a:ext cx="5624740" cy="7239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a:t>Bullet level one</a:t>
            </a:r>
          </a:p>
          <a:p>
            <a:pPr lvl="1">
              <a:spcBef>
                <a:spcPts val="0"/>
              </a:spcBef>
            </a:pPr>
            <a:r>
              <a:rPr lang="en-US"/>
              <a:t>Bullet level two</a:t>
            </a:r>
            <a:endParaRPr/>
          </a:p>
        </p:txBody>
      </p:sp>
    </p:spTree>
    <p:extLst>
      <p:ext uri="{BB962C8B-B14F-4D97-AF65-F5344CB8AC3E}">
        <p14:creationId xmlns:p14="http://schemas.microsoft.com/office/powerpoint/2010/main" val="3851462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1"/>
            <a:ext cx="5409100" cy="5007646"/>
          </a:xfrm>
          <a:solidFill>
            <a:schemeClr val="bg2"/>
          </a:solidFill>
        </p:spPr>
        <p:txBody>
          <a:bodyPr anchor="ctr"/>
          <a:lstStyle>
            <a:lvl1pPr algn="ctr">
              <a:defRPr>
                <a:solidFill>
                  <a:srgbClr val="B4009E"/>
                </a:solidFill>
              </a:defRPr>
            </a:lvl1pPr>
          </a:lstStyle>
          <a:p>
            <a:r>
              <a:rPr lang="en-US"/>
              <a:t>Click icon to add picture</a:t>
            </a:r>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0"/>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7" name="Picture 6">
            <a:extLst>
              <a:ext uri="{FF2B5EF4-FFF2-40B4-BE49-F238E27FC236}">
                <a16:creationId xmlns:a16="http://schemas.microsoft.com/office/drawing/2014/main" id="{397F176D-9051-CF42-BE22-2BBAB77462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8" name="Footer Placeholder 4">
            <a:extLst>
              <a:ext uri="{FF2B5EF4-FFF2-40B4-BE49-F238E27FC236}">
                <a16:creationId xmlns:a16="http://schemas.microsoft.com/office/drawing/2014/main" id="{B742A6ED-1A36-48AF-B9E5-5982C25DFF38}"/>
              </a:ext>
            </a:extLst>
          </p:cNvPr>
          <p:cNvSpPr>
            <a:spLocks noGrp="1"/>
          </p:cNvSpPr>
          <p:nvPr>
            <p:ph type="ftr" sz="quarter" idx="3"/>
          </p:nvPr>
        </p:nvSpPr>
        <p:spPr>
          <a:xfrm>
            <a:off x="528075" y="6442502"/>
            <a:ext cx="4114800" cy="390311"/>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r>
              <a:rPr lang="en-US">
                <a:solidFill>
                  <a:schemeClr val="accent6"/>
                </a:solidFill>
              </a:rPr>
              <a:t>@Techielass</a:t>
            </a:r>
          </a:p>
        </p:txBody>
      </p:sp>
      <p:sp>
        <p:nvSpPr>
          <p:cNvPr id="16" name="Text Placeholder 3">
            <a:extLst>
              <a:ext uri="{FF2B5EF4-FFF2-40B4-BE49-F238E27FC236}">
                <a16:creationId xmlns:a16="http://schemas.microsoft.com/office/drawing/2014/main" id="{085624A1-7981-4C6B-A325-FFA200CB4754}"/>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2288054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5" name="Picture Placeholder 4"/>
          <p:cNvSpPr>
            <a:spLocks noGrp="1"/>
          </p:cNvSpPr>
          <p:nvPr>
            <p:ph type="pic" sz="quarter" idx="27"/>
          </p:nvPr>
        </p:nvSpPr>
        <p:spPr>
          <a:xfrm>
            <a:off x="0" y="1827037"/>
            <a:ext cx="5422401" cy="5019960"/>
          </a:xfrm>
          <a:solidFill>
            <a:schemeClr val="bg2"/>
          </a:solidFill>
        </p:spPr>
        <p:txBody>
          <a:bodyPr anchor="ctr"/>
          <a:lstStyle>
            <a:lvl1pPr algn="ctr">
              <a:defRPr>
                <a:solidFill>
                  <a:srgbClr val="B4009E"/>
                </a:solidFill>
              </a:defRPr>
            </a:lvl1pPr>
          </a:lstStyle>
          <a:p>
            <a:r>
              <a:rPr lang="en-US"/>
              <a:t>Click icon to add picture</a:t>
            </a:r>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pic>
        <p:nvPicPr>
          <p:cNvPr id="12" name="Picture 11">
            <a:extLst>
              <a:ext uri="{FF2B5EF4-FFF2-40B4-BE49-F238E27FC236}">
                <a16:creationId xmlns:a16="http://schemas.microsoft.com/office/drawing/2014/main" id="{FCF31B0C-2013-F049-8C71-68ECE5AA51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13" name="Text Placeholder 3">
            <a:extLst>
              <a:ext uri="{FF2B5EF4-FFF2-40B4-BE49-F238E27FC236}">
                <a16:creationId xmlns:a16="http://schemas.microsoft.com/office/drawing/2014/main" id="{34C2FD0C-70E2-45DE-839E-19D6D5B747D0}"/>
              </a:ext>
            </a:extLst>
          </p:cNvPr>
          <p:cNvSpPr>
            <a:spLocks noGrp="1"/>
          </p:cNvSpPr>
          <p:nvPr>
            <p:ph idx="26"/>
          </p:nvPr>
        </p:nvSpPr>
        <p:spPr>
          <a:xfrm>
            <a:off x="6096000" y="1866900"/>
            <a:ext cx="5638800"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27030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PC Screen + Concept">
    <p:spTree>
      <p:nvGrpSpPr>
        <p:cNvPr id="1" name=""/>
        <p:cNvGrpSpPr/>
        <p:nvPr/>
      </p:nvGrpSpPr>
      <p:grpSpPr>
        <a:xfrm>
          <a:off x="0" y="0"/>
          <a:ext cx="0" cy="0"/>
          <a:chOff x="0" y="0"/>
          <a:chExt cx="0" cy="0"/>
        </a:xfrm>
      </p:grpSpPr>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2"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a:t>level one</a:t>
            </a:r>
          </a:p>
          <a:p>
            <a:pPr lvl="0" algn="ctr" defTabSz="914367">
              <a:spcBef>
                <a:spcPts val="0"/>
              </a:spcBef>
              <a:spcAft>
                <a:spcPts val="1176"/>
              </a:spcAft>
              <a:buFont typeface="Arial"/>
            </a:pPr>
            <a:r>
              <a:rPr lang="en-US"/>
              <a:t>level two</a:t>
            </a:r>
          </a:p>
        </p:txBody>
      </p: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2" y="3276599"/>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a:t>Column 1</a:t>
            </a: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
        <p:nvSpPr>
          <p:cNvPr id="5" name="Picture Placeholder 4"/>
          <p:cNvSpPr>
            <a:spLocks noGrp="1"/>
          </p:cNvSpPr>
          <p:nvPr>
            <p:ph type="pic" sz="quarter" idx="27"/>
          </p:nvPr>
        </p:nvSpPr>
        <p:spPr>
          <a:xfrm>
            <a:off x="6819900" y="1849235"/>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3"/>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p:nvCxnSpPr>
        <p:spPr>
          <a:xfrm>
            <a:off x="473102" y="3894138"/>
            <a:ext cx="5622898"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0"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11" name="Picture 10">
            <a:extLst>
              <a:ext uri="{FF2B5EF4-FFF2-40B4-BE49-F238E27FC236}">
                <a16:creationId xmlns:a16="http://schemas.microsoft.com/office/drawing/2014/main" id="{B7CD7164-7CA3-9347-9501-D910E9A542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Tree>
    <p:extLst>
      <p:ext uri="{BB962C8B-B14F-4D97-AF65-F5344CB8AC3E}">
        <p14:creationId xmlns:p14="http://schemas.microsoft.com/office/powerpoint/2010/main" val="360423964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r>
              <a:rPr lang="en-US"/>
              <a:t>@Techielass</a:t>
            </a:r>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209984368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2955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26624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C7B517-6382-4D33-8AF4-81A29CBBE57A}"/>
              </a:ext>
            </a:extLst>
          </p:cNvPr>
          <p:cNvSpPr/>
          <p:nvPr userDrawn="1"/>
        </p:nvSpPr>
        <p:spPr bwMode="auto">
          <a:xfrm>
            <a:off x="274638" y="2168525"/>
            <a:ext cx="6534150" cy="242604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8" tIns="143366" rIns="179208" bIns="143366"/>
          <a:lstStyle/>
          <a:p>
            <a:pPr algn="ctr" defTabSz="913576"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prstGeom prst="rect">
            <a:avLst/>
          </a:prstGeo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94" b="0" i="0" u="none" strike="noStrike" kern="0" cap="none" spc="-98" normalizeH="0" baseline="0" noProof="0">
                <a:ln>
                  <a:noFill/>
                </a:ln>
                <a:gradFill>
                  <a:gsLst>
                    <a:gs pos="62564">
                      <a:srgbClr val="FFFFFF"/>
                    </a:gs>
                    <a:gs pos="55000">
                      <a:srgbClr val="FFFFFF"/>
                    </a:gs>
                  </a:gsLst>
                  <a:lin ang="5400000" scaled="0"/>
                </a:gradFill>
                <a:effectLst/>
                <a:uLnTx/>
                <a:uFillTx/>
              </a:rPr>
              <a:t>Presentation title</a:t>
            </a:r>
          </a:p>
        </p:txBody>
      </p:sp>
      <p:sp>
        <p:nvSpPr>
          <p:cNvPr id="10" name="Text Placeholder 4"/>
          <p:cNvSpPr>
            <a:spLocks noGrp="1"/>
          </p:cNvSpPr>
          <p:nvPr>
            <p:ph type="body" sz="quarter" idx="12" hasCustomPrompt="1"/>
          </p:nvPr>
        </p:nvSpPr>
        <p:spPr>
          <a:xfrm>
            <a:off x="269301" y="3878574"/>
            <a:ext cx="7171337" cy="1792326"/>
          </a:xfrm>
          <a:prstGeom prst="rect">
            <a:avLst/>
          </a:prstGeo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137" b="0" i="0" u="none" strike="noStrike" kern="0" cap="none" spc="0" normalizeH="0" baseline="0" noProof="0">
                <a:ln>
                  <a:noFill/>
                </a:ln>
                <a:gradFill>
                  <a:gsLst>
                    <a:gs pos="91000">
                      <a:srgbClr val="FFFFFF"/>
                    </a:gs>
                    <a:gs pos="0">
                      <a:srgbClr val="FFFFFF"/>
                    </a:gs>
                  </a:gsLst>
                  <a:lin ang="5400000" scaled="0"/>
                </a:gradFill>
                <a:effectLst/>
                <a:uLnTx/>
                <a:uFillTx/>
                <a:latin typeface="Segoe UI Light"/>
              </a:rPr>
              <a:t>Speaker name</a:t>
            </a:r>
          </a:p>
        </p:txBody>
      </p:sp>
      <p:grpSp>
        <p:nvGrpSpPr>
          <p:cNvPr id="11" name="Group 10"/>
          <p:cNvGrpSpPr>
            <a:grpSpLocks noChangeAspect="1"/>
          </p:cNvGrpSpPr>
          <p:nvPr userDrawn="1"/>
        </p:nvGrpSpPr>
        <p:grpSpPr bwMode="black">
          <a:xfrm>
            <a:off x="459102" y="470067"/>
            <a:ext cx="1419662" cy="304828"/>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327172567"/>
      </p:ext>
    </p:extLst>
  </p:cSld>
  <p:clrMapOvr>
    <a:masterClrMapping/>
  </p:clrMapOvr>
  <p:transition spd="med">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1B3E3C-318F-41FA-8B53-E30B0B7B2303}"/>
              </a:ext>
            </a:extLst>
          </p:cNvPr>
          <p:cNvSpPr/>
          <p:nvPr userDrawn="1"/>
        </p:nvSpPr>
        <p:spPr bwMode="auto">
          <a:xfrm>
            <a:off x="274638" y="2084388"/>
            <a:ext cx="6534150" cy="358616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4" tIns="143387" rIns="179234" bIns="143387"/>
          <a:lstStyle/>
          <a:p>
            <a:pPr algn="ctr" defTabSz="913751"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p:nvPr>
        </p:nvSpPr>
        <p:spPr bwMode="auto">
          <a:xfrm>
            <a:off x="269239" y="2084389"/>
            <a:ext cx="6395721" cy="1792287"/>
          </a:xfrm>
          <a:noFill/>
        </p:spPr>
        <p:txBody>
          <a:bodyPr anchorCtr="0"/>
          <a:lstStyle>
            <a:lvl1pPr>
              <a:defRPr sz="5199" spc="-98" baseline="0">
                <a:gradFill>
                  <a:gsLst>
                    <a:gs pos="76250">
                      <a:srgbClr val="FFFFFF"/>
                    </a:gs>
                    <a:gs pos="51000">
                      <a:srgbClr val="FFFFFF"/>
                    </a:gs>
                  </a:gsLst>
                  <a:lin ang="5400000" scaled="0"/>
                </a:gradFill>
              </a:defRPr>
            </a:lvl1pPr>
          </a:lstStyle>
          <a:p>
            <a:r>
              <a:rPr lang="en-US"/>
              <a:t>Click to edit Master title style</a:t>
            </a:r>
          </a:p>
        </p:txBody>
      </p:sp>
      <p:sp>
        <p:nvSpPr>
          <p:cNvPr id="20" name="Text Placeholder 2"/>
          <p:cNvSpPr>
            <a:spLocks noGrp="1"/>
          </p:cNvSpPr>
          <p:nvPr>
            <p:ph type="body" sz="quarter" idx="14"/>
          </p:nvPr>
        </p:nvSpPr>
        <p:spPr bwMode="auto">
          <a:xfrm>
            <a:off x="267620" y="3876676"/>
            <a:ext cx="6397340" cy="1228725"/>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a:t>Click to edit Master text styles</a:t>
            </a:r>
          </a:p>
        </p:txBody>
      </p:sp>
      <p:sp>
        <p:nvSpPr>
          <p:cNvPr id="10" name="Text Placeholder 9"/>
          <p:cNvSpPr>
            <a:spLocks noGrp="1"/>
          </p:cNvSpPr>
          <p:nvPr>
            <p:ph type="body" sz="quarter" idx="15"/>
          </p:nvPr>
        </p:nvSpPr>
        <p:spPr>
          <a:xfrm>
            <a:off x="269876" y="5105401"/>
            <a:ext cx="6435725" cy="312143"/>
          </a:xfrm>
        </p:spPr>
        <p:txBody>
          <a:bodyPr/>
          <a:lstStyle>
            <a:lvl1pPr marL="0" indent="0">
              <a:buNone/>
              <a:defRPr sz="1600">
                <a:solidFill>
                  <a:schemeClr val="bg1"/>
                </a:solidFill>
              </a:defRPr>
            </a:lvl1pPr>
          </a:lstStyle>
          <a:p>
            <a:pPr lvl="0"/>
            <a:r>
              <a:rPr lang="en-US"/>
              <a:t>Click to edit Master text styles</a:t>
            </a:r>
          </a:p>
        </p:txBody>
      </p:sp>
      <p:grpSp>
        <p:nvGrpSpPr>
          <p:cNvPr id="9" name="Group 8"/>
          <p:cNvGrpSpPr>
            <a:grpSpLocks noChangeAspect="1"/>
          </p:cNvGrpSpPr>
          <p:nvPr userDrawn="1"/>
        </p:nvGrpSpPr>
        <p:grpSpPr bwMode="black">
          <a:xfrm>
            <a:off x="459102" y="470067"/>
            <a:ext cx="1419662" cy="304828"/>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1"/>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3642469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8420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ue sideba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rgbClr val="007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27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840094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7"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16477777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p:nvPr>
        </p:nvSpPr>
        <p:spPr>
          <a:xfrm>
            <a:off x="215053" y="288925"/>
            <a:ext cx="11655425" cy="804863"/>
          </a:xfrm>
        </p:spPr>
        <p:txBody>
          <a:bodyPr/>
          <a:lstStyle>
            <a:lvl1pPr>
              <a:defRPr sz="4310">
                <a:solidFill>
                  <a:schemeClr val="bg1"/>
                </a:solidFill>
              </a:defRPr>
            </a:lvl1pPr>
          </a:lstStyle>
          <a:p>
            <a:r>
              <a:rPr lang="en-US"/>
              <a:t>Click to edit Master title style</a:t>
            </a:r>
          </a:p>
        </p:txBody>
      </p:sp>
      <p:sp>
        <p:nvSpPr>
          <p:cNvPr id="5"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1937361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415243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29658"/>
            <a:ext cx="11653523" cy="1797915"/>
          </a:xfrm>
        </p:spPr>
        <p:txBody>
          <a:bodyPr/>
          <a:lstStyle>
            <a:lvl1pPr>
              <a:defRPr sz="352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136757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4104458"/>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293558"/>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6727"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51492" y="2168527"/>
            <a:ext cx="5378548" cy="2273327"/>
          </a:xfrm>
        </p:spPr>
        <p:txBody>
          <a:bodyPr/>
          <a:lstStyle>
            <a:lvl1pPr marL="0" indent="0">
              <a:spcBef>
                <a:spcPts val="1200"/>
              </a:spcBef>
              <a:buClr>
                <a:schemeClr val="tx1"/>
              </a:buClr>
              <a:buFont typeface="Wingdings" pitchFamily="2" charset="2"/>
              <a:buNone/>
              <a:defRPr sz="3526"/>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2"/>
          </p:nvPr>
        </p:nvSpPr>
        <p:spPr>
          <a:xfrm>
            <a:off x="269242" y="1133379"/>
            <a:ext cx="11653523" cy="48013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p:txBody>
      </p:sp>
    </p:spTree>
    <p:extLst>
      <p:ext uri="{BB962C8B-B14F-4D97-AF65-F5344CB8AC3E}">
        <p14:creationId xmlns:p14="http://schemas.microsoft.com/office/powerpoint/2010/main" val="445904055"/>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14334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55999ED-F480-C740-A1F0-8786803292D6}"/>
              </a:ext>
            </a:extLst>
          </p:cNvPr>
          <p:cNvSpPr>
            <a:spLocks noGrp="1"/>
          </p:cNvSpPr>
          <p:nvPr>
            <p:ph type="body" sz="quarter" idx="10" hasCustomPrompt="1"/>
          </p:nvPr>
        </p:nvSpPr>
        <p:spPr>
          <a:xfrm>
            <a:off x="4209815" y="573927"/>
            <a:ext cx="5969000" cy="452388"/>
          </a:xfrm>
          <a:prstGeom prst="rect">
            <a:avLst/>
          </a:prstGeom>
        </p:spPr>
        <p:txBody>
          <a:bodyPr/>
          <a:lstStyle>
            <a:lvl1pPr marL="0" indent="0">
              <a:buNone/>
              <a:defRPr sz="2000" b="1" i="0">
                <a:solidFill>
                  <a:schemeClr val="tx1">
                    <a:lumMod val="75000"/>
                    <a:lumOff val="25000"/>
                  </a:schemeClr>
                </a:solidFill>
                <a:latin typeface="Segoe UI" panose="020B0502040204020203" pitchFamily="34" charset="0"/>
                <a:cs typeface="Segoe UI" panose="020B0502040204020203" pitchFamily="34" charset="0"/>
              </a:defRPr>
            </a:lvl1pPr>
            <a:lvl2pPr>
              <a:defRPr sz="2400" b="0" i="0">
                <a:solidFill>
                  <a:schemeClr val="tx1">
                    <a:lumMod val="75000"/>
                    <a:lumOff val="25000"/>
                  </a:schemeClr>
                </a:solidFill>
                <a:latin typeface="Segoe UI" panose="020B0502040204020203" pitchFamily="34" charset="0"/>
                <a:cs typeface="Segoe UI" panose="020B0502040204020203" pitchFamily="34" charset="0"/>
              </a:defRPr>
            </a:lvl2pPr>
            <a:lvl3pPr>
              <a:defRPr sz="2400" b="0" i="0">
                <a:solidFill>
                  <a:schemeClr val="tx1">
                    <a:lumMod val="75000"/>
                    <a:lumOff val="25000"/>
                  </a:schemeClr>
                </a:solidFill>
                <a:latin typeface="Segoe UI" panose="020B0502040204020203" pitchFamily="34" charset="0"/>
                <a:cs typeface="Segoe UI" panose="020B0502040204020203" pitchFamily="34" charset="0"/>
              </a:defRPr>
            </a:lvl3pPr>
            <a:lvl4pPr>
              <a:defRPr sz="2400" b="0" i="0">
                <a:solidFill>
                  <a:schemeClr val="tx1">
                    <a:lumMod val="75000"/>
                    <a:lumOff val="25000"/>
                  </a:schemeClr>
                </a:solidFill>
                <a:latin typeface="Segoe UI" panose="020B0502040204020203" pitchFamily="34" charset="0"/>
                <a:cs typeface="Segoe UI" panose="020B0502040204020203" pitchFamily="34" charset="0"/>
              </a:defRPr>
            </a:lvl4pPr>
            <a:lvl5pPr>
              <a:defRPr sz="24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a:t>Lorem ipsum</a:t>
            </a:r>
          </a:p>
        </p:txBody>
      </p:sp>
      <p:sp>
        <p:nvSpPr>
          <p:cNvPr id="21" name="Title 18">
            <a:extLst>
              <a:ext uri="{FF2B5EF4-FFF2-40B4-BE49-F238E27FC236}">
                <a16:creationId xmlns:a16="http://schemas.microsoft.com/office/drawing/2014/main" id="{07616163-5C84-134C-AA39-5D05EA0CFB81}"/>
              </a:ext>
            </a:extLst>
          </p:cNvPr>
          <p:cNvSpPr>
            <a:spLocks noGrp="1"/>
          </p:cNvSpPr>
          <p:nvPr>
            <p:ph type="title" hasCustomPrompt="1"/>
          </p:nvPr>
        </p:nvSpPr>
        <p:spPr>
          <a:xfrm>
            <a:off x="600259" y="598640"/>
            <a:ext cx="2794470" cy="427675"/>
          </a:xfrm>
          <a:prstGeom prst="rect">
            <a:avLst/>
          </a:prstGeom>
        </p:spPr>
        <p:txBody>
          <a:bodyPr/>
          <a:lstStyle>
            <a:lvl1pPr>
              <a:defRPr sz="1600" b="1" i="0">
                <a:solidFill>
                  <a:schemeClr val="bg2">
                    <a:lumMod val="25000"/>
                  </a:schemeClr>
                </a:solidFill>
                <a:latin typeface="Segoe UI" panose="020B0502040204020203" pitchFamily="34" charset="0"/>
                <a:cs typeface="Segoe UI" panose="020B0502040204020203" pitchFamily="34" charset="0"/>
              </a:defRPr>
            </a:lvl1pPr>
          </a:lstStyle>
          <a:p>
            <a:r>
              <a:rPr lang="en-US"/>
              <a:t>Title</a:t>
            </a:r>
          </a:p>
        </p:txBody>
      </p:sp>
      <p:sp>
        <p:nvSpPr>
          <p:cNvPr id="6" name="Text Placeholder 15">
            <a:extLst>
              <a:ext uri="{FF2B5EF4-FFF2-40B4-BE49-F238E27FC236}">
                <a16:creationId xmlns:a16="http://schemas.microsoft.com/office/drawing/2014/main" id="{39D5C216-9C21-0E4B-85A3-178B99757BE1}"/>
              </a:ext>
            </a:extLst>
          </p:cNvPr>
          <p:cNvSpPr>
            <a:spLocks noGrp="1"/>
          </p:cNvSpPr>
          <p:nvPr>
            <p:ph type="body" sz="quarter" idx="11" hasCustomPrompt="1"/>
          </p:nvPr>
        </p:nvSpPr>
        <p:spPr>
          <a:xfrm>
            <a:off x="4209815" y="1026315"/>
            <a:ext cx="5969000" cy="585712"/>
          </a:xfrm>
          <a:prstGeom prst="rect">
            <a:avLst/>
          </a:prstGeom>
        </p:spPr>
        <p:txBody>
          <a:bodyPr/>
          <a:lstStyle>
            <a:lvl1pPr marL="0" indent="0">
              <a:buNone/>
              <a:defRPr sz="1800" b="0" i="0">
                <a:solidFill>
                  <a:schemeClr val="tx1">
                    <a:lumMod val="75000"/>
                    <a:lumOff val="25000"/>
                  </a:schemeClr>
                </a:solidFill>
                <a:latin typeface="Segoe UI" panose="020B0502040204020203" pitchFamily="34" charset="0"/>
                <a:cs typeface="Segoe UI" panose="020B0502040204020203" pitchFamily="34" charset="0"/>
              </a:defRPr>
            </a:lvl1pPr>
            <a:lvl2pPr>
              <a:defRPr sz="2400" b="0" i="0">
                <a:solidFill>
                  <a:schemeClr val="tx1">
                    <a:lumMod val="75000"/>
                    <a:lumOff val="25000"/>
                  </a:schemeClr>
                </a:solidFill>
                <a:latin typeface="Segoe UI" panose="020B0502040204020203" pitchFamily="34" charset="0"/>
                <a:cs typeface="Segoe UI" panose="020B0502040204020203" pitchFamily="34" charset="0"/>
              </a:defRPr>
            </a:lvl2pPr>
            <a:lvl3pPr>
              <a:defRPr sz="2400" b="0" i="0">
                <a:solidFill>
                  <a:schemeClr val="tx1">
                    <a:lumMod val="75000"/>
                    <a:lumOff val="25000"/>
                  </a:schemeClr>
                </a:solidFill>
                <a:latin typeface="Segoe UI" panose="020B0502040204020203" pitchFamily="34" charset="0"/>
                <a:cs typeface="Segoe UI" panose="020B0502040204020203" pitchFamily="34" charset="0"/>
              </a:defRPr>
            </a:lvl3pPr>
            <a:lvl4pPr>
              <a:defRPr sz="2400" b="0" i="0">
                <a:solidFill>
                  <a:schemeClr val="tx1">
                    <a:lumMod val="75000"/>
                    <a:lumOff val="25000"/>
                  </a:schemeClr>
                </a:solidFill>
                <a:latin typeface="Segoe UI" panose="020B0502040204020203" pitchFamily="34" charset="0"/>
                <a:cs typeface="Segoe UI" panose="020B0502040204020203" pitchFamily="34" charset="0"/>
              </a:defRPr>
            </a:lvl4pPr>
            <a:lvl5pPr>
              <a:defRPr sz="24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a:t>Lorem ipsum</a:t>
            </a:r>
          </a:p>
        </p:txBody>
      </p:sp>
    </p:spTree>
    <p:extLst>
      <p:ext uri="{BB962C8B-B14F-4D97-AF65-F5344CB8AC3E}">
        <p14:creationId xmlns:p14="http://schemas.microsoft.com/office/powerpoint/2010/main" val="152553866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29657"/>
            <a:ext cx="5378548" cy="2231080"/>
          </a:xfrm>
        </p:spPr>
        <p:txBody>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998187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9948532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BA7BB8-8D86-495F-ABF1-D77B653DEE30}"/>
              </a:ext>
            </a:extLst>
          </p:cNvPr>
          <p:cNvSpPr txBox="1">
            <a:spLocks noChangeArrowheads="1"/>
          </p:cNvSpPr>
          <p:nvPr userDrawn="1"/>
        </p:nvSpPr>
        <p:spPr bwMode="auto">
          <a:xfrm>
            <a:off x="282575" y="5705475"/>
            <a:ext cx="11431588" cy="871538"/>
          </a:xfrm>
          <a:prstGeom prst="rect">
            <a:avLst/>
          </a:prstGeom>
          <a:noFill/>
          <a:ln>
            <a:noFill/>
          </a:ln>
        </p:spPr>
        <p:txBody>
          <a:bodyPr lIns="175711" tIns="140570" rIns="175711" bIns="140570"/>
          <a:lstStyle>
            <a:lvl1pPr defTabSz="893763">
              <a:defRPr sz="1700">
                <a:solidFill>
                  <a:schemeClr val="tx1"/>
                </a:solidFill>
                <a:latin typeface="Segoe UI" panose="020B0502040204020203" pitchFamily="34" charset="0"/>
                <a:ea typeface="MS PGothic" panose="020B0600070205080204" pitchFamily="34" charset="-128"/>
              </a:defRPr>
            </a:lvl1pPr>
            <a:lvl2pPr marL="742950" indent="-285750" defTabSz="893763">
              <a:defRPr sz="1700">
                <a:solidFill>
                  <a:schemeClr val="tx1"/>
                </a:solidFill>
                <a:latin typeface="Segoe UI" panose="020B0502040204020203" pitchFamily="34" charset="0"/>
                <a:ea typeface="MS PGothic" panose="020B0600070205080204" pitchFamily="34" charset="-128"/>
              </a:defRPr>
            </a:lvl2pPr>
            <a:lvl3pPr marL="1143000" indent="-228600" defTabSz="893763">
              <a:defRPr sz="1700">
                <a:solidFill>
                  <a:schemeClr val="tx1"/>
                </a:solidFill>
                <a:latin typeface="Segoe UI" panose="020B0502040204020203" pitchFamily="34" charset="0"/>
                <a:ea typeface="MS PGothic" panose="020B0600070205080204" pitchFamily="34" charset="-128"/>
              </a:defRPr>
            </a:lvl3pPr>
            <a:lvl4pPr marL="1600200" indent="-228600" defTabSz="893763">
              <a:defRPr sz="1700">
                <a:solidFill>
                  <a:schemeClr val="tx1"/>
                </a:solidFill>
                <a:latin typeface="Segoe UI" panose="020B0502040204020203" pitchFamily="34" charset="0"/>
                <a:ea typeface="MS PGothic" panose="020B0600070205080204" pitchFamily="34" charset="-128"/>
              </a:defRPr>
            </a:lvl4pPr>
            <a:lvl5pPr marL="2057400" indent="-228600" defTabSz="893763">
              <a:defRPr sz="1700">
                <a:solidFill>
                  <a:schemeClr val="tx1"/>
                </a:solidFill>
                <a:latin typeface="Segoe UI" panose="020B0502040204020203" pitchFamily="34" charset="0"/>
                <a:ea typeface="MS PGothic" panose="020B0600070205080204" pitchFamily="34" charset="-128"/>
              </a:defRPr>
            </a:lvl5pPr>
            <a:lvl6pPr marL="25146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89376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eaLnBrk="1" hangingPunct="1">
              <a:lnSpc>
                <a:spcPts val="1150"/>
              </a:lnSpc>
            </a:pPr>
            <a:r>
              <a:rPr lang="en-US" altLang="en-US" sz="900">
                <a:solidFill>
                  <a:schemeClr val="bg1"/>
                </a:solidFill>
              </a:rPr>
              <a:t>© 2016 Microsoft Corporation. All rights reserved. Microsoft, Windows, and other product names are or may be registered trademarks and/or trademarks in the U.S. and/or other countries.</a:t>
            </a:r>
          </a:p>
          <a:p>
            <a:pPr eaLnBrk="1" hangingPunct="1">
              <a:lnSpc>
                <a:spcPts val="1150"/>
              </a:lnSpc>
            </a:pPr>
            <a:r>
              <a:rPr lang="en-US" altLang="en-US" sz="900">
                <a:solidFill>
                  <a:schemeClr val="bg1"/>
                </a:solidFill>
              </a:rPr>
              <a:t>The information herein is for informational purposes only and represents the current view of Microsoft Corporation as of the date of this presentation. Because Microsoft must respond to changing market</a:t>
            </a:r>
          </a:p>
          <a:p>
            <a:pPr eaLnBrk="1" hangingPunct="1">
              <a:lnSpc>
                <a:spcPts val="1150"/>
              </a:lnSpc>
            </a:pPr>
            <a:r>
              <a:rPr lang="en-US" altLang="en-US" sz="900">
                <a:solidFill>
                  <a:schemeClr val="bg1"/>
                </a:solidFill>
              </a:rPr>
              <a:t>conditions, it should not be interpreted to be a commitment on the part of Microsoft, and Microsoft cannot guarantee the accuracy of any information provided after the date of this presentation.</a:t>
            </a:r>
          </a:p>
          <a:p>
            <a:pPr eaLnBrk="1" hangingPunct="1">
              <a:lnSpc>
                <a:spcPts val="1150"/>
              </a:lnSpc>
            </a:pPr>
            <a:r>
              <a:rPr lang="en-US" altLang="en-US" sz="900">
                <a:solidFill>
                  <a:schemeClr val="bg1"/>
                </a:solidFill>
              </a:rPr>
              <a:t>MICROSOFT MAKES NO WARRANTIES, EXPRESS, IMPLIED OR STATUTORY, AS TO THE INFORMATION IN THIS PRESENTATION.</a:t>
            </a:r>
          </a:p>
        </p:txBody>
      </p:sp>
      <p:pic>
        <p:nvPicPr>
          <p:cNvPr id="3" name="Picture 13">
            <a:extLst>
              <a:ext uri="{FF2B5EF4-FFF2-40B4-BE49-F238E27FC236}">
                <a16:creationId xmlns:a16="http://schemas.microsoft.com/office/drawing/2014/main" id="{FB2B3B92-1681-460F-9C20-2B36E17667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79425" y="3100388"/>
            <a:ext cx="3219450" cy="690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4923021"/>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2331074757"/>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9239" y="179310"/>
            <a:ext cx="9539915" cy="756465"/>
          </a:xfrm>
        </p:spPr>
        <p:txBody>
          <a:bodyPr lIns="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p:cNvSpPr>
            <a:spLocks noGrp="1"/>
          </p:cNvSpPr>
          <p:nvPr>
            <p:ph type="body" sz="quarter" idx="10"/>
          </p:nvPr>
        </p:nvSpPr>
        <p:spPr>
          <a:xfrm>
            <a:off x="269240" y="1189178"/>
            <a:ext cx="11653523" cy="2356691"/>
          </a:xfrm>
        </p:spPr>
        <p:txBody>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76815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621765"/>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74562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MS logo gray - EMF" descr="Microsoft logo, gray text version">
            <a:extLst>
              <a:ext uri="{FF2B5EF4-FFF2-40B4-BE49-F238E27FC236}">
                <a16:creationId xmlns:a16="http://schemas.microsoft.com/office/drawing/2014/main" id="{26FDBBD4-5439-43FF-9C3C-06E51481568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46" name="Rectangle 45">
            <a:extLst>
              <a:ext uri="{FF2B5EF4-FFF2-40B4-BE49-F238E27FC236}">
                <a16:creationId xmlns:a16="http://schemas.microsoft.com/office/drawing/2014/main" id="{9E86009C-8F6D-4F4E-8039-1BBAB4349ACE}"/>
              </a:ext>
            </a:extLst>
          </p:cNvPr>
          <p:cNvSpPr/>
          <p:nvPr userDrawn="1"/>
        </p:nvSpPr>
        <p:spPr bwMode="gray">
          <a:xfrm>
            <a:off x="293044" y="1170431"/>
            <a:ext cx="11604624" cy="53938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46">
            <a:extLst>
              <a:ext uri="{FF2B5EF4-FFF2-40B4-BE49-F238E27FC236}">
                <a16:creationId xmlns:a16="http://schemas.microsoft.com/office/drawing/2014/main" id="{64634A0D-CDC1-4B74-9B1D-BFC041ADFF89}"/>
              </a:ext>
            </a:extLst>
          </p:cNvPr>
          <p:cNvGrpSpPr/>
          <p:nvPr userDrawn="1"/>
        </p:nvGrpSpPr>
        <p:grpSpPr bwMode="ltGray">
          <a:xfrm>
            <a:off x="8710812" y="1771650"/>
            <a:ext cx="3481189" cy="4196081"/>
            <a:chOff x="8710812" y="1771650"/>
            <a:chExt cx="3481189" cy="4196081"/>
          </a:xfrm>
        </p:grpSpPr>
        <p:sp>
          <p:nvSpPr>
            <p:cNvPr id="56" name="Freeform 5">
              <a:extLst>
                <a:ext uri="{FF2B5EF4-FFF2-40B4-BE49-F238E27FC236}">
                  <a16:creationId xmlns:a16="http://schemas.microsoft.com/office/drawing/2014/main" id="{4DC76CC5-7A92-4507-B9AB-E1C52B408C78}"/>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
              <a:extLst>
                <a:ext uri="{FF2B5EF4-FFF2-40B4-BE49-F238E27FC236}">
                  <a16:creationId xmlns:a16="http://schemas.microsoft.com/office/drawing/2014/main" id="{713C1AC6-B4DC-4963-9EA8-B6B20DD580F4}"/>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7">
              <a:extLst>
                <a:ext uri="{FF2B5EF4-FFF2-40B4-BE49-F238E27FC236}">
                  <a16:creationId xmlns:a16="http://schemas.microsoft.com/office/drawing/2014/main" id="{F84FA6D7-56F7-44A5-952F-1D8D92BE75DC}"/>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
              <a:extLst>
                <a:ext uri="{FF2B5EF4-FFF2-40B4-BE49-F238E27FC236}">
                  <a16:creationId xmlns:a16="http://schemas.microsoft.com/office/drawing/2014/main" id="{DC6E7217-0264-4BC2-94C5-154B07A16467}"/>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9">
              <a:extLst>
                <a:ext uri="{FF2B5EF4-FFF2-40B4-BE49-F238E27FC236}">
                  <a16:creationId xmlns:a16="http://schemas.microsoft.com/office/drawing/2014/main" id="{0107B848-7897-4AE3-96D8-7F063977D580}"/>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
              <a:extLst>
                <a:ext uri="{FF2B5EF4-FFF2-40B4-BE49-F238E27FC236}">
                  <a16:creationId xmlns:a16="http://schemas.microsoft.com/office/drawing/2014/main" id="{62E28D71-9D3A-4161-AEC5-AC22CDED1496}"/>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
              <a:extLst>
                <a:ext uri="{FF2B5EF4-FFF2-40B4-BE49-F238E27FC236}">
                  <a16:creationId xmlns:a16="http://schemas.microsoft.com/office/drawing/2014/main" id="{4EE38E3D-6F6F-48A0-B807-ED5EB1BB02B3}"/>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2">
              <a:extLst>
                <a:ext uri="{FF2B5EF4-FFF2-40B4-BE49-F238E27FC236}">
                  <a16:creationId xmlns:a16="http://schemas.microsoft.com/office/drawing/2014/main" id="{B6BDC1BC-1C74-4943-947E-002A476C34DE}"/>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3">
              <a:extLst>
                <a:ext uri="{FF2B5EF4-FFF2-40B4-BE49-F238E27FC236}">
                  <a16:creationId xmlns:a16="http://schemas.microsoft.com/office/drawing/2014/main" id="{7F4CE712-18EB-4B18-BEFD-25E76271D6B4}"/>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67" name="Freeform 14">
              <a:extLst>
                <a:ext uri="{FF2B5EF4-FFF2-40B4-BE49-F238E27FC236}">
                  <a16:creationId xmlns:a16="http://schemas.microsoft.com/office/drawing/2014/main" id="{1B97ABDE-E446-4A14-AE73-C28DA6F40A1E}"/>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68" name="Freeform 15">
              <a:extLst>
                <a:ext uri="{FF2B5EF4-FFF2-40B4-BE49-F238E27FC236}">
                  <a16:creationId xmlns:a16="http://schemas.microsoft.com/office/drawing/2014/main" id="{4E371BC5-B5DD-4560-9E82-A726980A18B0}"/>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6">
              <a:extLst>
                <a:ext uri="{FF2B5EF4-FFF2-40B4-BE49-F238E27FC236}">
                  <a16:creationId xmlns:a16="http://schemas.microsoft.com/office/drawing/2014/main" id="{E7ED0ABE-C1E9-481E-9E3A-028F704C9985}"/>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5D8E8713-A78A-4A1C-9DF6-CEDDE82189D3}"/>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8">
              <a:extLst>
                <a:ext uri="{FF2B5EF4-FFF2-40B4-BE49-F238E27FC236}">
                  <a16:creationId xmlns:a16="http://schemas.microsoft.com/office/drawing/2014/main" id="{4356CA3E-2ADD-4A4A-938B-21C0E6F73EBF}"/>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Shape 71">
              <a:extLst>
                <a:ext uri="{FF2B5EF4-FFF2-40B4-BE49-F238E27FC236}">
                  <a16:creationId xmlns:a16="http://schemas.microsoft.com/office/drawing/2014/main" id="{59FA4478-CD34-4951-980A-B0310D4783B5}"/>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3" name="Freeform: Shape 72">
              <a:extLst>
                <a:ext uri="{FF2B5EF4-FFF2-40B4-BE49-F238E27FC236}">
                  <a16:creationId xmlns:a16="http://schemas.microsoft.com/office/drawing/2014/main" id="{BF3C3C93-31C7-4E34-B536-46E2E5BB20EE}"/>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74" name="Freeform 21">
              <a:extLst>
                <a:ext uri="{FF2B5EF4-FFF2-40B4-BE49-F238E27FC236}">
                  <a16:creationId xmlns:a16="http://schemas.microsoft.com/office/drawing/2014/main" id="{0823D6EC-7859-4E8F-B997-349444F522F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2">
              <a:extLst>
                <a:ext uri="{FF2B5EF4-FFF2-40B4-BE49-F238E27FC236}">
                  <a16:creationId xmlns:a16="http://schemas.microsoft.com/office/drawing/2014/main" id="{6CB27EA3-EC8E-4F6B-B629-083D47C701E0}"/>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
              <a:extLst>
                <a:ext uri="{FF2B5EF4-FFF2-40B4-BE49-F238E27FC236}">
                  <a16:creationId xmlns:a16="http://schemas.microsoft.com/office/drawing/2014/main" id="{6D0AFD7B-1ED2-4ED0-AD9D-DE457DC79354}"/>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90ACDD35-148D-4651-AE5F-D6910312A6F1}"/>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9AB5307B-9D80-439E-9AB9-DCE501AEDD3F}"/>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FE5C8C41-8064-491D-918F-5182AA10092D}"/>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Rectangle 79">
            <a:extLst>
              <a:ext uri="{FF2B5EF4-FFF2-40B4-BE49-F238E27FC236}">
                <a16:creationId xmlns:a16="http://schemas.microsoft.com/office/drawing/2014/main" id="{675737AF-08D7-46E7-A6B2-D93E2B2758E0}"/>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81" name="Graphic 80">
            <a:extLst>
              <a:ext uri="{FF2B5EF4-FFF2-40B4-BE49-F238E27FC236}">
                <a16:creationId xmlns:a16="http://schemas.microsoft.com/office/drawing/2014/main" id="{A2115767-F785-4332-BA47-8DA7FD22C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2468066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Slide">
    <p:bg>
      <p:bgPr>
        <a:solidFill>
          <a:schemeClr val="accent3"/>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605303" y="585788"/>
            <a:ext cx="1324234"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a:prstGeom prst="rect">
            <a:avLst/>
          </a:prstGeo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146304"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chemeClr val="accent3">
              <a:alpha val="75000"/>
            </a:scheme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tx1"/>
                </a:soli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35" name="Group 34">
            <a:extLst>
              <a:ext uri="{FF2B5EF4-FFF2-40B4-BE49-F238E27FC236}">
                <a16:creationId xmlns:a16="http://schemas.microsoft.com/office/drawing/2014/main" id="{83A65528-BEA6-4455-89DF-356D30F1C2A5}"/>
              </a:ext>
            </a:extLst>
          </p:cNvPr>
          <p:cNvGrpSpPr/>
          <p:nvPr userDrawn="1"/>
        </p:nvGrpSpPr>
        <p:grpSpPr bwMode="ltGray">
          <a:xfrm>
            <a:off x="8710812" y="2368232"/>
            <a:ext cx="3481189" cy="4196081"/>
            <a:chOff x="8710812" y="1771650"/>
            <a:chExt cx="3481189" cy="4196081"/>
          </a:xfrm>
        </p:grpSpPr>
        <p:sp>
          <p:nvSpPr>
            <p:cNvPr id="36" name="Freeform 5">
              <a:extLst>
                <a:ext uri="{FF2B5EF4-FFF2-40B4-BE49-F238E27FC236}">
                  <a16:creationId xmlns:a16="http://schemas.microsoft.com/office/drawing/2014/main" id="{B11C373F-A409-44E6-9C7C-EE4AF88C98C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id="{2AA8092B-E8F2-4E17-A12B-B3C1EBF03616}"/>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
              <a:extLst>
                <a:ext uri="{FF2B5EF4-FFF2-40B4-BE49-F238E27FC236}">
                  <a16:creationId xmlns:a16="http://schemas.microsoft.com/office/drawing/2014/main" id="{A0C6E152-5A92-436C-8386-9978D15BEB79}"/>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
              <a:extLst>
                <a:ext uri="{FF2B5EF4-FFF2-40B4-BE49-F238E27FC236}">
                  <a16:creationId xmlns:a16="http://schemas.microsoft.com/office/drawing/2014/main" id="{F74C3E44-6DE7-4382-A69C-C886BBA18E22}"/>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
              <a:extLst>
                <a:ext uri="{FF2B5EF4-FFF2-40B4-BE49-F238E27FC236}">
                  <a16:creationId xmlns:a16="http://schemas.microsoft.com/office/drawing/2014/main" id="{C4BEFC2F-6009-4430-B283-E24A1114566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0">
              <a:extLst>
                <a:ext uri="{FF2B5EF4-FFF2-40B4-BE49-F238E27FC236}">
                  <a16:creationId xmlns:a16="http://schemas.microsoft.com/office/drawing/2014/main" id="{6AB6A802-8716-4699-967F-7193E06B96BC}"/>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1">
              <a:extLst>
                <a:ext uri="{FF2B5EF4-FFF2-40B4-BE49-F238E27FC236}">
                  <a16:creationId xmlns:a16="http://schemas.microsoft.com/office/drawing/2014/main" id="{9A8CCA96-2AD8-4343-A8A1-BF2AEECE1A8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
              <a:extLst>
                <a:ext uri="{FF2B5EF4-FFF2-40B4-BE49-F238E27FC236}">
                  <a16:creationId xmlns:a16="http://schemas.microsoft.com/office/drawing/2014/main" id="{BF3EEB20-C459-4356-898E-B99931BA14A7}"/>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3">
              <a:extLst>
                <a:ext uri="{FF2B5EF4-FFF2-40B4-BE49-F238E27FC236}">
                  <a16:creationId xmlns:a16="http://schemas.microsoft.com/office/drawing/2014/main" id="{2D0EBF3F-921B-4D45-8016-0E5E4C159040}"/>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5" name="Freeform 14">
              <a:extLst>
                <a:ext uri="{FF2B5EF4-FFF2-40B4-BE49-F238E27FC236}">
                  <a16:creationId xmlns:a16="http://schemas.microsoft.com/office/drawing/2014/main" id="{546A93D8-C295-4C30-9892-0FF8440B115F}"/>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6" name="Freeform 15">
              <a:extLst>
                <a:ext uri="{FF2B5EF4-FFF2-40B4-BE49-F238E27FC236}">
                  <a16:creationId xmlns:a16="http://schemas.microsoft.com/office/drawing/2014/main" id="{26D2C748-4059-4C5B-8A04-C78D924762EE}"/>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6">
              <a:extLst>
                <a:ext uri="{FF2B5EF4-FFF2-40B4-BE49-F238E27FC236}">
                  <a16:creationId xmlns:a16="http://schemas.microsoft.com/office/drawing/2014/main" id="{CAE58463-4DFA-46A0-BEED-FDDBBEA8E10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7">
              <a:extLst>
                <a:ext uri="{FF2B5EF4-FFF2-40B4-BE49-F238E27FC236}">
                  <a16:creationId xmlns:a16="http://schemas.microsoft.com/office/drawing/2014/main" id="{8605461F-8950-4448-8BCA-692C1D151D89}"/>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8">
              <a:extLst>
                <a:ext uri="{FF2B5EF4-FFF2-40B4-BE49-F238E27FC236}">
                  <a16:creationId xmlns:a16="http://schemas.microsoft.com/office/drawing/2014/main" id="{4CB9790C-410E-4188-BF4B-3B61BA1A87BA}"/>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Shape 49">
              <a:extLst>
                <a:ext uri="{FF2B5EF4-FFF2-40B4-BE49-F238E27FC236}">
                  <a16:creationId xmlns:a16="http://schemas.microsoft.com/office/drawing/2014/main" id="{97D1BD09-94AB-4626-AD6C-7425822C145E}"/>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1" name="Freeform: Shape 50">
              <a:extLst>
                <a:ext uri="{FF2B5EF4-FFF2-40B4-BE49-F238E27FC236}">
                  <a16:creationId xmlns:a16="http://schemas.microsoft.com/office/drawing/2014/main" id="{93D7ABCA-9E42-4EAA-B21B-31CE59A5E108}"/>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52" name="Freeform 21">
              <a:extLst>
                <a:ext uri="{FF2B5EF4-FFF2-40B4-BE49-F238E27FC236}">
                  <a16:creationId xmlns:a16="http://schemas.microsoft.com/office/drawing/2014/main" id="{F705A26E-E647-465A-8FE3-92252DAF2378}"/>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2">
              <a:extLst>
                <a:ext uri="{FF2B5EF4-FFF2-40B4-BE49-F238E27FC236}">
                  <a16:creationId xmlns:a16="http://schemas.microsoft.com/office/drawing/2014/main" id="{0BF01532-DA86-4E85-83F5-990C4AFCA363}"/>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3">
              <a:extLst>
                <a:ext uri="{FF2B5EF4-FFF2-40B4-BE49-F238E27FC236}">
                  <a16:creationId xmlns:a16="http://schemas.microsoft.com/office/drawing/2014/main" id="{5AFC3DE0-77F2-454D-83FB-3A614CD3A3B7}"/>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4">
              <a:extLst>
                <a:ext uri="{FF2B5EF4-FFF2-40B4-BE49-F238E27FC236}">
                  <a16:creationId xmlns:a16="http://schemas.microsoft.com/office/drawing/2014/main" id="{C7D9EB1C-F4E6-452F-839C-EA1646D5158B}"/>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
              <a:extLst>
                <a:ext uri="{FF2B5EF4-FFF2-40B4-BE49-F238E27FC236}">
                  <a16:creationId xmlns:a16="http://schemas.microsoft.com/office/drawing/2014/main" id="{F9D8ED01-5EED-44C6-B1E5-79602B3CF473}"/>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6">
              <a:extLst>
                <a:ext uri="{FF2B5EF4-FFF2-40B4-BE49-F238E27FC236}">
                  <a16:creationId xmlns:a16="http://schemas.microsoft.com/office/drawing/2014/main" id="{01AE8F6D-14EC-4231-88D6-1C72312F6911}"/>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77810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1_Title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80596" y="1505833"/>
            <a:ext cx="3938914" cy="553998"/>
          </a:xfrm>
          <a:prstGeom prst="rect">
            <a:avLst/>
          </a:prstGeom>
        </p:spPr>
        <p:txBody>
          <a:bodyPr wrap="square"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674375" y="2488694"/>
            <a:ext cx="393891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63057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755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390" y="457200"/>
            <a:ext cx="11018520" cy="5539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8659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948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DFD3761-4F1D-4624-A48B-A3A62F8BE0D4}"/>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962968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B822D851-718C-46ED-8D59-B7005EE12ED1}"/>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903998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092228-98FB-4B79-86CD-EB9BF7C81EE3}"/>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1590722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509453" y="600825"/>
            <a:ext cx="6099936" cy="1107996"/>
          </a:xfrm>
          <a:prstGeom prst="rect">
            <a:avLst/>
          </a:prstGeo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7537FF0-A393-4686-BC5E-6600D31F0972}"/>
              </a:ext>
            </a:extLst>
          </p:cNvPr>
          <p:cNvSpPr/>
          <p:nvPr/>
        </p:nvSpPr>
        <p:spPr bwMode="auto">
          <a:xfrm>
            <a:off x="0" y="0"/>
            <a:ext cx="4993240" cy="685800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5" name="Text Placeholder 4">
            <a:extLst>
              <a:ext uri="{FF2B5EF4-FFF2-40B4-BE49-F238E27FC236}">
                <a16:creationId xmlns:a16="http://schemas.microsoft.com/office/drawing/2014/main" id="{ACC343D7-A804-4B58-BC9E-B0BDFD2044B8}"/>
              </a:ext>
            </a:extLst>
          </p:cNvPr>
          <p:cNvSpPr>
            <a:spLocks noGrp="1"/>
          </p:cNvSpPr>
          <p:nvPr>
            <p:ph type="body" sz="quarter" idx="10"/>
          </p:nvPr>
        </p:nvSpPr>
        <p:spPr>
          <a:xfrm>
            <a:off x="7489861" y="2280863"/>
            <a:ext cx="4119527" cy="1221873"/>
          </a:xfrm>
        </p:spPr>
        <p:txBody>
          <a:bodyPr/>
          <a:lstStyle>
            <a:lvl1pPr>
              <a:spcBef>
                <a:spcPts val="5400"/>
              </a:spcBef>
              <a:defRPr sz="1800" b="0">
                <a:latin typeface="Segoe UI" panose="020B0502040204020203" pitchFamily="34" charset="0"/>
                <a:cs typeface="Segoe UI" panose="020B0502040204020203" pitchFamily="34" charset="0"/>
              </a:defRPr>
            </a:lvl1pPr>
            <a:lvl2pPr>
              <a:defRPr sz="1400" b="0">
                <a:latin typeface="Segoe UI" panose="020B0502040204020203" pitchFamily="34" charset="0"/>
                <a:cs typeface="Segoe UI" panose="020B0502040204020203" pitchFamily="34" charset="0"/>
              </a:defRPr>
            </a:lvl2pPr>
            <a:lvl3pPr>
              <a:defRPr sz="1100" b="0">
                <a:latin typeface="Segoe UI" panose="020B0502040204020203" pitchFamily="34" charset="0"/>
                <a:cs typeface="Segoe UI" panose="020B0502040204020203" pitchFamily="34" charset="0"/>
              </a:defRPr>
            </a:lvl3pPr>
            <a:lvl4pPr>
              <a:defRPr sz="1050" b="0">
                <a:latin typeface="Segoe UI" panose="020B0502040204020203" pitchFamily="34" charset="0"/>
                <a:cs typeface="Segoe UI" panose="020B0502040204020203" pitchFamily="34" charset="0"/>
              </a:defRPr>
            </a:lvl4pPr>
            <a:lvl5pPr>
              <a:defRPr sz="1050" b="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8771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Only with grid">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6E82DDE-D1C8-4FA3-B8B1-60FABDA817CE}"/>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525303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Title Only with gri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584199" y="1436688"/>
            <a:ext cx="7253289"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1404F95-BA58-4F8A-9757-FB13F3D704C0}"/>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389618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mall title - half page">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lgn="l">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110268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 Square Photo">
    <p:bg>
      <p:bgPr>
        <a:solidFill>
          <a:schemeClr val="bg1"/>
        </a:solidFill>
        <a:effectLst/>
      </p:bgPr>
    </p:bg>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487315"/>
            <a:ext cx="3768898" cy="646331"/>
          </a:xfrm>
          <a:prstGeom prst="rect">
            <a:avLst/>
          </a:prstGeom>
        </p:spPr>
        <p:txBody>
          <a:bodyPr wrap="square" rIns="0" anchor="b">
            <a:spAutoFit/>
          </a:bodyPr>
          <a:lstStyle>
            <a:lvl1pPr algn="l">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32" name="Group 31">
            <a:extLst>
              <a:ext uri="{FF2B5EF4-FFF2-40B4-BE49-F238E27FC236}">
                <a16:creationId xmlns:a16="http://schemas.microsoft.com/office/drawing/2014/main" id="{A554CF85-0841-41F0-B6F4-0311F20100EA}"/>
              </a:ext>
            </a:extLst>
          </p:cNvPr>
          <p:cNvGrpSpPr/>
          <p:nvPr userDrawn="1"/>
        </p:nvGrpSpPr>
        <p:grpSpPr bwMode="ltGray">
          <a:xfrm>
            <a:off x="6256117" y="-21839"/>
            <a:ext cx="5932086" cy="6890047"/>
            <a:chOff x="6256117" y="-21839"/>
            <a:chExt cx="5932086" cy="6890047"/>
          </a:xfrm>
        </p:grpSpPr>
        <p:grpSp>
          <p:nvGrpSpPr>
            <p:cNvPr id="33" name="Group 32">
              <a:extLst>
                <a:ext uri="{FF2B5EF4-FFF2-40B4-BE49-F238E27FC236}">
                  <a16:creationId xmlns:a16="http://schemas.microsoft.com/office/drawing/2014/main" id="{B5540783-DD16-4D96-AA93-69C82B10176D}"/>
                </a:ext>
              </a:extLst>
            </p:cNvPr>
            <p:cNvGrpSpPr/>
            <p:nvPr userDrawn="1"/>
          </p:nvGrpSpPr>
          <p:grpSpPr bwMode="ltGray">
            <a:xfrm>
              <a:off x="8507413" y="1457714"/>
              <a:ext cx="3680790" cy="5392441"/>
              <a:chOff x="8507413" y="1457714"/>
              <a:chExt cx="3680790" cy="5392441"/>
            </a:xfrm>
          </p:grpSpPr>
          <p:sp>
            <p:nvSpPr>
              <p:cNvPr id="42" name="Freeform: Shape 41">
                <a:extLst>
                  <a:ext uri="{FF2B5EF4-FFF2-40B4-BE49-F238E27FC236}">
                    <a16:creationId xmlns:a16="http://schemas.microsoft.com/office/drawing/2014/main" id="{F2A407C1-52D9-4CF5-BF32-AE2FE676BF4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560C4BEC-4A19-4CF9-97D0-D451B1DAEB0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8B4B4966-D68F-49EC-BA64-0F5A479970B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73139EB2-111E-407D-B9A9-97FA3E63CFD2}"/>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98979ED9-7308-4771-8393-0ACF0477FC16}"/>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8BE909CD-A873-41C8-A103-5AA41A047A5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3D17C884-0758-4C47-8451-B03F3BE5F6D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393E4E8D-30D0-4059-AC6A-9F09AC8FBF7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FF49A554-CD2F-468E-A1B6-01021E0ACD2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F4E80323-5CEA-4E7C-AF42-7EEA0CA6308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7A9F02A4-DAB7-42AD-9E4E-B12D2D14DDE6}"/>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E9BAC11-3CCA-42FC-8747-93F623629B7C}"/>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C96E6BE9-F00F-4C4A-AA5C-A5C2862DD22A}"/>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4AF527ED-9CE1-49AB-9357-3F4A1748FF3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7CB19142-4655-4FA7-B2BC-98628DA2B9D8}"/>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4" name="Freeform: Shape 83">
                <a:extLst>
                  <a:ext uri="{FF2B5EF4-FFF2-40B4-BE49-F238E27FC236}">
                    <a16:creationId xmlns:a16="http://schemas.microsoft.com/office/drawing/2014/main" id="{3C8368D7-97C0-4086-AD9D-25372CE7829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5" name="Straight Connector 84">
                <a:extLst>
                  <a:ext uri="{FF2B5EF4-FFF2-40B4-BE49-F238E27FC236}">
                    <a16:creationId xmlns:a16="http://schemas.microsoft.com/office/drawing/2014/main" id="{53C9D79A-F7EC-4BA2-9D6B-2B6A7B833631}"/>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C0F2279D-F32A-43A7-94B7-116995B5DB33}"/>
                </a:ext>
              </a:extLst>
            </p:cNvPr>
            <p:cNvGrpSpPr/>
            <p:nvPr userDrawn="1"/>
          </p:nvGrpSpPr>
          <p:grpSpPr bwMode="ltGray">
            <a:xfrm>
              <a:off x="7545167" y="-21839"/>
              <a:ext cx="1192433" cy="1098538"/>
              <a:chOff x="7545167" y="-9139"/>
              <a:chExt cx="1192433" cy="1098538"/>
            </a:xfrm>
          </p:grpSpPr>
          <p:sp>
            <p:nvSpPr>
              <p:cNvPr id="39" name="Freeform: Shape 38">
                <a:extLst>
                  <a:ext uri="{FF2B5EF4-FFF2-40B4-BE49-F238E27FC236}">
                    <a16:creationId xmlns:a16="http://schemas.microsoft.com/office/drawing/2014/main" id="{AEA1516F-F31B-4C8D-AD9D-A305272E8BB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0" name="Freeform: Shape 39">
                <a:extLst>
                  <a:ext uri="{FF2B5EF4-FFF2-40B4-BE49-F238E27FC236}">
                    <a16:creationId xmlns:a16="http://schemas.microsoft.com/office/drawing/2014/main" id="{BD91CD73-D1A2-4BAA-A3F6-19F693FA6BE8}"/>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1" name="Freeform: Shape 40">
                <a:extLst>
                  <a:ext uri="{FF2B5EF4-FFF2-40B4-BE49-F238E27FC236}">
                    <a16:creationId xmlns:a16="http://schemas.microsoft.com/office/drawing/2014/main" id="{DA2BFF44-891E-471C-8E48-6AF8EE78EB8E}"/>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CEB6AEF0-C1CD-46DD-B472-2E0A7DF0E5E3}"/>
                </a:ext>
              </a:extLst>
            </p:cNvPr>
            <p:cNvGrpSpPr/>
            <p:nvPr userDrawn="1"/>
          </p:nvGrpSpPr>
          <p:grpSpPr bwMode="ltGray">
            <a:xfrm>
              <a:off x="6256117" y="5896894"/>
              <a:ext cx="1057910" cy="971314"/>
              <a:chOff x="6256117" y="5896894"/>
              <a:chExt cx="1057910" cy="971314"/>
            </a:xfrm>
          </p:grpSpPr>
          <p:sp>
            <p:nvSpPr>
              <p:cNvPr id="36" name="Freeform: Shape 35">
                <a:extLst>
                  <a:ext uri="{FF2B5EF4-FFF2-40B4-BE49-F238E27FC236}">
                    <a16:creationId xmlns:a16="http://schemas.microsoft.com/office/drawing/2014/main" id="{0523A98A-D4A8-433E-B032-C0E273B5B528}"/>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7" name="Freeform: Shape 36">
                <a:extLst>
                  <a:ext uri="{FF2B5EF4-FFF2-40B4-BE49-F238E27FC236}">
                    <a16:creationId xmlns:a16="http://schemas.microsoft.com/office/drawing/2014/main" id="{7443288C-78B4-43F6-8626-D74D92E3BE8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8" name="Freeform: Shape 37">
                <a:extLst>
                  <a:ext uri="{FF2B5EF4-FFF2-40B4-BE49-F238E27FC236}">
                    <a16:creationId xmlns:a16="http://schemas.microsoft.com/office/drawing/2014/main" id="{2A1B9AAE-6C51-4C02-9D9F-D96CB7F773CB}"/>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05718437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0" y="2322537"/>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528637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quare Photo body text">
    <p:bg>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a:prstGeom prst="rect">
            <a:avLst/>
          </a:prstGeo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37" name="Group 36">
            <a:extLst>
              <a:ext uri="{FF2B5EF4-FFF2-40B4-BE49-F238E27FC236}">
                <a16:creationId xmlns:a16="http://schemas.microsoft.com/office/drawing/2014/main" id="{16DD8738-4AF6-4799-9757-AA620DF6234A}"/>
              </a:ext>
            </a:extLst>
          </p:cNvPr>
          <p:cNvGrpSpPr/>
          <p:nvPr userDrawn="1"/>
        </p:nvGrpSpPr>
        <p:grpSpPr bwMode="ltGray">
          <a:xfrm>
            <a:off x="6256117" y="-21839"/>
            <a:ext cx="5932086" cy="6890047"/>
            <a:chOff x="6256117" y="-21839"/>
            <a:chExt cx="5932086" cy="6890047"/>
          </a:xfrm>
        </p:grpSpPr>
        <p:grpSp>
          <p:nvGrpSpPr>
            <p:cNvPr id="38" name="Group 37">
              <a:extLst>
                <a:ext uri="{FF2B5EF4-FFF2-40B4-BE49-F238E27FC236}">
                  <a16:creationId xmlns:a16="http://schemas.microsoft.com/office/drawing/2014/main" id="{89152A07-A20E-4C3A-98C5-F145798C3B82}"/>
                </a:ext>
              </a:extLst>
            </p:cNvPr>
            <p:cNvGrpSpPr/>
            <p:nvPr userDrawn="1"/>
          </p:nvGrpSpPr>
          <p:grpSpPr bwMode="ltGray">
            <a:xfrm>
              <a:off x="8507413" y="1457714"/>
              <a:ext cx="3680790" cy="5392441"/>
              <a:chOff x="8507413" y="1457714"/>
              <a:chExt cx="3680790" cy="5392441"/>
            </a:xfrm>
          </p:grpSpPr>
          <p:sp>
            <p:nvSpPr>
              <p:cNvPr id="47" name="Freeform: Shape 46">
                <a:extLst>
                  <a:ext uri="{FF2B5EF4-FFF2-40B4-BE49-F238E27FC236}">
                    <a16:creationId xmlns:a16="http://schemas.microsoft.com/office/drawing/2014/main" id="{3E335E85-9054-4B1A-BBD7-D8547B9DDD1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4969046C-B12A-40B5-B38B-AC10AE68B1E9}"/>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7C986313-F6D6-46D8-8362-E052B186BB6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49A96160-C72C-462C-BB5A-AD4A380E80CB}"/>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B7B0A59B-06ED-4CD7-8D8C-04123E2AB7A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400BC2F7-8717-46B7-8FF5-3D819E92D1D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F09E159-DF4C-46D9-8215-EB6C6D20A6F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22E93D7F-DDB6-453B-AFD3-D3712C8E904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7D5EDE3D-3C57-4A02-8B3B-64CCE47716D3}"/>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2C5D5CBB-3E31-48CD-9F42-DDC7FE75EE32}"/>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CFED7E41-E78E-4F25-89E9-5FD84F291419}"/>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8" name="Freeform: Shape 57">
                <a:extLst>
                  <a:ext uri="{FF2B5EF4-FFF2-40B4-BE49-F238E27FC236}">
                    <a16:creationId xmlns:a16="http://schemas.microsoft.com/office/drawing/2014/main" id="{994B2576-1C0E-4446-9014-E4BE8E3D007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9" name="Freeform: Shape 58">
                <a:extLst>
                  <a:ext uri="{FF2B5EF4-FFF2-40B4-BE49-F238E27FC236}">
                    <a16:creationId xmlns:a16="http://schemas.microsoft.com/office/drawing/2014/main" id="{978779D1-893E-490B-A44B-5C4D234F3B7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1" name="Freeform: Shape 80">
                <a:extLst>
                  <a:ext uri="{FF2B5EF4-FFF2-40B4-BE49-F238E27FC236}">
                    <a16:creationId xmlns:a16="http://schemas.microsoft.com/office/drawing/2014/main" id="{1156F5B5-4590-4CEE-A1CB-6FA39D664D90}"/>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0DB35E58-0BF2-4A87-95C2-A1FA7A039230}"/>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A002564A-3F52-43A5-969C-9C5C99CBBF1F}"/>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4" name="Straight Connector 83">
                <a:extLst>
                  <a:ext uri="{FF2B5EF4-FFF2-40B4-BE49-F238E27FC236}">
                    <a16:creationId xmlns:a16="http://schemas.microsoft.com/office/drawing/2014/main" id="{12439588-6B1C-492A-A1D1-99465909942D}"/>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9" name="Group 38">
              <a:extLst>
                <a:ext uri="{FF2B5EF4-FFF2-40B4-BE49-F238E27FC236}">
                  <a16:creationId xmlns:a16="http://schemas.microsoft.com/office/drawing/2014/main" id="{91B5C8DC-312B-41B1-94BF-C7E132873327}"/>
                </a:ext>
              </a:extLst>
            </p:cNvPr>
            <p:cNvGrpSpPr/>
            <p:nvPr userDrawn="1"/>
          </p:nvGrpSpPr>
          <p:grpSpPr bwMode="ltGray">
            <a:xfrm>
              <a:off x="7545167" y="-21839"/>
              <a:ext cx="1192433" cy="1098538"/>
              <a:chOff x="7545167" y="-9139"/>
              <a:chExt cx="1192433" cy="1098538"/>
            </a:xfrm>
          </p:grpSpPr>
          <p:sp>
            <p:nvSpPr>
              <p:cNvPr id="44" name="Freeform: Shape 43">
                <a:extLst>
                  <a:ext uri="{FF2B5EF4-FFF2-40B4-BE49-F238E27FC236}">
                    <a16:creationId xmlns:a16="http://schemas.microsoft.com/office/drawing/2014/main" id="{AC220856-25AB-4080-9BC4-80AA5F0A1A63}"/>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5" name="Freeform: Shape 44">
                <a:extLst>
                  <a:ext uri="{FF2B5EF4-FFF2-40B4-BE49-F238E27FC236}">
                    <a16:creationId xmlns:a16="http://schemas.microsoft.com/office/drawing/2014/main" id="{C196DC62-783C-4796-B1B9-A8CB24AE876E}"/>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6" name="Freeform: Shape 45">
                <a:extLst>
                  <a:ext uri="{FF2B5EF4-FFF2-40B4-BE49-F238E27FC236}">
                    <a16:creationId xmlns:a16="http://schemas.microsoft.com/office/drawing/2014/main" id="{AFFF3738-5CBB-43FD-BAF5-717C7707A8E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40" name="Group 39">
              <a:extLst>
                <a:ext uri="{FF2B5EF4-FFF2-40B4-BE49-F238E27FC236}">
                  <a16:creationId xmlns:a16="http://schemas.microsoft.com/office/drawing/2014/main" id="{8506971A-4DD4-4934-A372-1A37720EC39F}"/>
                </a:ext>
              </a:extLst>
            </p:cNvPr>
            <p:cNvGrpSpPr/>
            <p:nvPr userDrawn="1"/>
          </p:nvGrpSpPr>
          <p:grpSpPr bwMode="ltGray">
            <a:xfrm>
              <a:off x="6256117" y="5896894"/>
              <a:ext cx="1057910" cy="971314"/>
              <a:chOff x="6256117" y="5896894"/>
              <a:chExt cx="1057910" cy="971314"/>
            </a:xfrm>
          </p:grpSpPr>
          <p:sp>
            <p:nvSpPr>
              <p:cNvPr id="41" name="Freeform: Shape 40">
                <a:extLst>
                  <a:ext uri="{FF2B5EF4-FFF2-40B4-BE49-F238E27FC236}">
                    <a16:creationId xmlns:a16="http://schemas.microsoft.com/office/drawing/2014/main" id="{8B2961D5-CF8B-4B1B-8725-16AFA977653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A9A40CCE-8D68-4356-9409-2ADA1F6D0797}"/>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BBBBBA-1AB3-40A2-8D34-1E7917D8780F}"/>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048693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prstGeom prst="rect">
            <a:avLst/>
          </a:prstGeo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6" name="Group 5">
            <a:extLst>
              <a:ext uri="{FF2B5EF4-FFF2-40B4-BE49-F238E27FC236}">
                <a16:creationId xmlns:a16="http://schemas.microsoft.com/office/drawing/2014/main" id="{44054ABD-D362-4EBB-AB27-E27002A8E6D3}"/>
              </a:ext>
            </a:extLst>
          </p:cNvPr>
          <p:cNvGrpSpPr/>
          <p:nvPr userDrawn="1"/>
        </p:nvGrpSpPr>
        <p:grpSpPr bwMode="ltGray">
          <a:xfrm>
            <a:off x="6256117" y="-21839"/>
            <a:ext cx="5932086" cy="6890047"/>
            <a:chOff x="6256117" y="-21839"/>
            <a:chExt cx="5932086" cy="6890047"/>
          </a:xfrm>
        </p:grpSpPr>
        <p:grpSp>
          <p:nvGrpSpPr>
            <p:cNvPr id="7" name="Group 6">
              <a:extLst>
                <a:ext uri="{FF2B5EF4-FFF2-40B4-BE49-F238E27FC236}">
                  <a16:creationId xmlns:a16="http://schemas.microsoft.com/office/drawing/2014/main" id="{6600A9ED-8756-4110-8FA3-03FB1631F436}"/>
                </a:ext>
              </a:extLst>
            </p:cNvPr>
            <p:cNvGrpSpPr/>
            <p:nvPr userDrawn="1"/>
          </p:nvGrpSpPr>
          <p:grpSpPr bwMode="ltGray">
            <a:xfrm>
              <a:off x="8507413" y="1457714"/>
              <a:ext cx="3680790" cy="5392441"/>
              <a:chOff x="8507413" y="1457714"/>
              <a:chExt cx="3680790" cy="5392441"/>
            </a:xfrm>
          </p:grpSpPr>
          <p:sp>
            <p:nvSpPr>
              <p:cNvPr id="16" name="Freeform: Shape 15">
                <a:extLst>
                  <a:ext uri="{FF2B5EF4-FFF2-40B4-BE49-F238E27FC236}">
                    <a16:creationId xmlns:a16="http://schemas.microsoft.com/office/drawing/2014/main" id="{20868475-FB70-4BC0-94B4-AB9513299C8D}"/>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6AAE2447-DA95-4F6C-9BF7-9DB1523BF344}"/>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F1386575-9A5B-4B67-BC65-7452636ABF0F}"/>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14EC7872-728B-46A1-892D-7BE01869468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A80318B3-F3BC-446C-9FD7-281A12E1514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2015DA15-78F2-4760-947B-4EAD1CF954DD}"/>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576E50B4-64C6-457F-90C6-6366B9979359}"/>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3372F1FA-99B7-4477-BB8C-65CFB141DC0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BFACF139-F33E-4045-A218-64548E76A967}"/>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B297C85B-8139-4CD0-AE7C-04E1E2DE07C0}"/>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4931FBDD-863C-4063-9F90-138F007F1D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A346AEC1-22F3-4207-8008-9303A0CA7896}"/>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03822AC4-FAFF-406C-9480-50243064F2D1}"/>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9" name="Freeform: Shape 28">
                <a:extLst>
                  <a:ext uri="{FF2B5EF4-FFF2-40B4-BE49-F238E27FC236}">
                    <a16:creationId xmlns:a16="http://schemas.microsoft.com/office/drawing/2014/main" id="{A6CF26DA-D3CA-495D-BB4F-83BFAA6794BD}"/>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0" name="Freeform: Shape 29">
                <a:extLst>
                  <a:ext uri="{FF2B5EF4-FFF2-40B4-BE49-F238E27FC236}">
                    <a16:creationId xmlns:a16="http://schemas.microsoft.com/office/drawing/2014/main" id="{A6CC74ED-13FF-417A-9255-59D6293B1F93}"/>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B796A4A5-6416-41E9-96A6-E7D89FD1E6A5}"/>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32" name="Straight Connector 31">
                <a:extLst>
                  <a:ext uri="{FF2B5EF4-FFF2-40B4-BE49-F238E27FC236}">
                    <a16:creationId xmlns:a16="http://schemas.microsoft.com/office/drawing/2014/main" id="{98DE6B32-31A4-42B4-9E3E-6657AF8B407A}"/>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 name="Group 7">
              <a:extLst>
                <a:ext uri="{FF2B5EF4-FFF2-40B4-BE49-F238E27FC236}">
                  <a16:creationId xmlns:a16="http://schemas.microsoft.com/office/drawing/2014/main" id="{868982D5-04B9-4CFB-B66D-93AB6F2D06D0}"/>
                </a:ext>
              </a:extLst>
            </p:cNvPr>
            <p:cNvGrpSpPr/>
            <p:nvPr userDrawn="1"/>
          </p:nvGrpSpPr>
          <p:grpSpPr bwMode="ltGray">
            <a:xfrm>
              <a:off x="7545167" y="-21839"/>
              <a:ext cx="1192433" cy="1098538"/>
              <a:chOff x="7545167" y="-9139"/>
              <a:chExt cx="1192433" cy="1098538"/>
            </a:xfrm>
          </p:grpSpPr>
          <p:sp>
            <p:nvSpPr>
              <p:cNvPr id="13" name="Freeform: Shape 12">
                <a:extLst>
                  <a:ext uri="{FF2B5EF4-FFF2-40B4-BE49-F238E27FC236}">
                    <a16:creationId xmlns:a16="http://schemas.microsoft.com/office/drawing/2014/main" id="{092E2847-2E9E-48E8-A322-8BC1CED0FE54}"/>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4" name="Freeform: Shape 13">
                <a:extLst>
                  <a:ext uri="{FF2B5EF4-FFF2-40B4-BE49-F238E27FC236}">
                    <a16:creationId xmlns:a16="http://schemas.microsoft.com/office/drawing/2014/main" id="{31AE288B-9CE3-4B40-9184-898829BF351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5" name="Freeform: Shape 14">
                <a:extLst>
                  <a:ext uri="{FF2B5EF4-FFF2-40B4-BE49-F238E27FC236}">
                    <a16:creationId xmlns:a16="http://schemas.microsoft.com/office/drawing/2014/main" id="{46122996-0CDA-4C0D-BE92-8E006C347E0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9" name="Group 8">
              <a:extLst>
                <a:ext uri="{FF2B5EF4-FFF2-40B4-BE49-F238E27FC236}">
                  <a16:creationId xmlns:a16="http://schemas.microsoft.com/office/drawing/2014/main" id="{35256D3F-C33F-42E3-A8FD-920AB23FF012}"/>
                </a:ext>
              </a:extLst>
            </p:cNvPr>
            <p:cNvGrpSpPr/>
            <p:nvPr userDrawn="1"/>
          </p:nvGrpSpPr>
          <p:grpSpPr bwMode="ltGray">
            <a:xfrm>
              <a:off x="6256117" y="5896894"/>
              <a:ext cx="1057910" cy="971314"/>
              <a:chOff x="6256117" y="5896894"/>
              <a:chExt cx="1057910" cy="971314"/>
            </a:xfrm>
          </p:grpSpPr>
          <p:sp>
            <p:nvSpPr>
              <p:cNvPr id="10" name="Freeform: Shape 9">
                <a:extLst>
                  <a:ext uri="{FF2B5EF4-FFF2-40B4-BE49-F238E27FC236}">
                    <a16:creationId xmlns:a16="http://schemas.microsoft.com/office/drawing/2014/main" id="{F180C959-5044-456F-BD42-00A99C8CD80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1" name="Freeform: Shape 10">
                <a:extLst>
                  <a:ext uri="{FF2B5EF4-FFF2-40B4-BE49-F238E27FC236}">
                    <a16:creationId xmlns:a16="http://schemas.microsoft.com/office/drawing/2014/main" id="{94C2BD03-9D07-4647-A0BA-E4769A5D39D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2" name="Freeform: Shape 11">
                <a:extLst>
                  <a:ext uri="{FF2B5EF4-FFF2-40B4-BE49-F238E27FC236}">
                    <a16:creationId xmlns:a16="http://schemas.microsoft.com/office/drawing/2014/main" id="{422D8C56-6018-4C71-B826-B239838DE38A}"/>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3" name="TextBox 2">
            <a:extLst>
              <a:ext uri="{FF2B5EF4-FFF2-40B4-BE49-F238E27FC236}">
                <a16:creationId xmlns:a16="http://schemas.microsoft.com/office/drawing/2014/main" id="{1725D44F-44FC-475C-98F6-37CFCCF9B1A5}"/>
              </a:ext>
            </a:extLst>
          </p:cNvPr>
          <p:cNvSpPr txBox="1"/>
          <p:nvPr/>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1516446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3" name="Group 2">
            <a:extLst>
              <a:ext uri="{FF2B5EF4-FFF2-40B4-BE49-F238E27FC236}">
                <a16:creationId xmlns:a16="http://schemas.microsoft.com/office/drawing/2014/main" id="{ADFD1D3D-FA62-4649-9C8A-CF8FF80AF864}"/>
              </a:ext>
            </a:extLst>
          </p:cNvPr>
          <p:cNvGrpSpPr/>
          <p:nvPr userDrawn="1"/>
        </p:nvGrpSpPr>
        <p:grpSpPr bwMode="ltGray">
          <a:xfrm>
            <a:off x="6256117" y="-21839"/>
            <a:ext cx="5932086" cy="6890047"/>
            <a:chOff x="6256117" y="-21839"/>
            <a:chExt cx="5932086" cy="6890047"/>
          </a:xfrm>
        </p:grpSpPr>
        <p:grpSp>
          <p:nvGrpSpPr>
            <p:cNvPr id="4" name="Group 3">
              <a:extLst>
                <a:ext uri="{FF2B5EF4-FFF2-40B4-BE49-F238E27FC236}">
                  <a16:creationId xmlns:a16="http://schemas.microsoft.com/office/drawing/2014/main" id="{4540C80B-ECD0-439F-AA29-86567657713A}"/>
                </a:ext>
              </a:extLst>
            </p:cNvPr>
            <p:cNvGrpSpPr/>
            <p:nvPr userDrawn="1"/>
          </p:nvGrpSpPr>
          <p:grpSpPr bwMode="ltGray">
            <a:xfrm>
              <a:off x="8507413" y="1457714"/>
              <a:ext cx="3680790" cy="5392441"/>
              <a:chOff x="8507413" y="1457714"/>
              <a:chExt cx="3680790" cy="5392441"/>
            </a:xfrm>
          </p:grpSpPr>
          <p:sp>
            <p:nvSpPr>
              <p:cNvPr id="13" name="Freeform: Shape 12">
                <a:extLst>
                  <a:ext uri="{FF2B5EF4-FFF2-40B4-BE49-F238E27FC236}">
                    <a16:creationId xmlns:a16="http://schemas.microsoft.com/office/drawing/2014/main" id="{E98C740D-4F91-48D9-8AC4-64A89D83EA3E}"/>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4" name="Freeform: Shape 13">
                <a:extLst>
                  <a:ext uri="{FF2B5EF4-FFF2-40B4-BE49-F238E27FC236}">
                    <a16:creationId xmlns:a16="http://schemas.microsoft.com/office/drawing/2014/main" id="{7EC2D0E8-DD1B-43CD-89CD-93F08CB5C9F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5" name="Freeform: Shape 14">
                <a:extLst>
                  <a:ext uri="{FF2B5EF4-FFF2-40B4-BE49-F238E27FC236}">
                    <a16:creationId xmlns:a16="http://schemas.microsoft.com/office/drawing/2014/main" id="{30871137-B511-4012-AECB-D4214E8A6EE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6" name="Freeform: Shape 15">
                <a:extLst>
                  <a:ext uri="{FF2B5EF4-FFF2-40B4-BE49-F238E27FC236}">
                    <a16:creationId xmlns:a16="http://schemas.microsoft.com/office/drawing/2014/main" id="{2AB04DB0-F801-450E-B636-BFC09FD7E83E}"/>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E436597C-108A-4604-816D-BE2F1B7281B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83D0F6A2-B032-4F73-82DF-6A125E8C68DB}"/>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A0BBE5BA-3EF4-4ABA-8EB8-678189E685A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9A548ABD-5296-4B59-B518-FB7B3CF5D42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3E8831FD-6056-47F8-B784-9D45756676D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B25618AF-1FED-49F2-93E7-B0D1C0024DD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00389AA1-8118-4048-8F5D-55C53EEE4098}"/>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FC440CC6-C14C-45CE-8958-1AF8389CE06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54F72E3B-8976-4800-B14A-393ECE49519C}"/>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A191FA79-943D-44A1-A7AD-7E11FE28349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BC90C3D5-487A-494D-93AC-45117DE8F2EE}"/>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D26F13A4-DCB4-4E3B-89AD-78E182E52E2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29" name="Straight Connector 28">
                <a:extLst>
                  <a:ext uri="{FF2B5EF4-FFF2-40B4-BE49-F238E27FC236}">
                    <a16:creationId xmlns:a16="http://schemas.microsoft.com/office/drawing/2014/main" id="{26BEC65A-FA14-4921-9785-7B78918F7492}"/>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1583CAE1-7923-4019-9FF9-16E218133EF9}"/>
                </a:ext>
              </a:extLst>
            </p:cNvPr>
            <p:cNvGrpSpPr/>
            <p:nvPr userDrawn="1"/>
          </p:nvGrpSpPr>
          <p:grpSpPr bwMode="ltGray">
            <a:xfrm>
              <a:off x="7545167" y="-21839"/>
              <a:ext cx="1192433" cy="1098538"/>
              <a:chOff x="7545167" y="-9139"/>
              <a:chExt cx="1192433" cy="1098538"/>
            </a:xfrm>
          </p:grpSpPr>
          <p:sp>
            <p:nvSpPr>
              <p:cNvPr id="10" name="Freeform: Shape 9">
                <a:extLst>
                  <a:ext uri="{FF2B5EF4-FFF2-40B4-BE49-F238E27FC236}">
                    <a16:creationId xmlns:a16="http://schemas.microsoft.com/office/drawing/2014/main" id="{4CAA3CD0-C584-4371-9EB7-3F15A81F63C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1" name="Freeform: Shape 10">
                <a:extLst>
                  <a:ext uri="{FF2B5EF4-FFF2-40B4-BE49-F238E27FC236}">
                    <a16:creationId xmlns:a16="http://schemas.microsoft.com/office/drawing/2014/main" id="{85025A77-A2E0-427E-AAD1-1B455AFEE32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2" name="Freeform: Shape 11">
                <a:extLst>
                  <a:ext uri="{FF2B5EF4-FFF2-40B4-BE49-F238E27FC236}">
                    <a16:creationId xmlns:a16="http://schemas.microsoft.com/office/drawing/2014/main" id="{06DDBD64-264B-4057-9129-B1A8B06636A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6" name="Group 5">
              <a:extLst>
                <a:ext uri="{FF2B5EF4-FFF2-40B4-BE49-F238E27FC236}">
                  <a16:creationId xmlns:a16="http://schemas.microsoft.com/office/drawing/2014/main" id="{92A00891-D3D4-4FA0-BE43-FA192A85694D}"/>
                </a:ext>
              </a:extLst>
            </p:cNvPr>
            <p:cNvGrpSpPr/>
            <p:nvPr userDrawn="1"/>
          </p:nvGrpSpPr>
          <p:grpSpPr bwMode="ltGray">
            <a:xfrm>
              <a:off x="6256117" y="5896894"/>
              <a:ext cx="1057910" cy="971314"/>
              <a:chOff x="6256117" y="5896894"/>
              <a:chExt cx="1057910" cy="971314"/>
            </a:xfrm>
          </p:grpSpPr>
          <p:sp>
            <p:nvSpPr>
              <p:cNvPr id="7" name="Freeform: Shape 6">
                <a:extLst>
                  <a:ext uri="{FF2B5EF4-FFF2-40B4-BE49-F238E27FC236}">
                    <a16:creationId xmlns:a16="http://schemas.microsoft.com/office/drawing/2014/main" id="{17828CDA-322B-45BC-8522-8185D4C1EAE6}"/>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 name="Freeform: Shape 7">
                <a:extLst>
                  <a:ext uri="{FF2B5EF4-FFF2-40B4-BE49-F238E27FC236}">
                    <a16:creationId xmlns:a16="http://schemas.microsoft.com/office/drawing/2014/main" id="{04EB1C63-85A3-405C-8354-4109F1FEBB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9" name="Freeform: Shape 8">
                <a:extLst>
                  <a:ext uri="{FF2B5EF4-FFF2-40B4-BE49-F238E27FC236}">
                    <a16:creationId xmlns:a16="http://schemas.microsoft.com/office/drawing/2014/main" id="{2B0D815E-8868-430D-AE99-9658DB7A0FDF}"/>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42379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3" name="Group 2">
            <a:extLst>
              <a:ext uri="{FF2B5EF4-FFF2-40B4-BE49-F238E27FC236}">
                <a16:creationId xmlns:a16="http://schemas.microsoft.com/office/drawing/2014/main" id="{4410A29B-F798-472B-84C0-F21E74A7E20D}"/>
              </a:ext>
            </a:extLst>
          </p:cNvPr>
          <p:cNvGrpSpPr/>
          <p:nvPr userDrawn="1"/>
        </p:nvGrpSpPr>
        <p:grpSpPr bwMode="ltGray">
          <a:xfrm>
            <a:off x="6256117" y="-21839"/>
            <a:ext cx="5932086" cy="6890047"/>
            <a:chOff x="6256117" y="-21839"/>
            <a:chExt cx="5932086" cy="6890047"/>
          </a:xfrm>
        </p:grpSpPr>
        <p:grpSp>
          <p:nvGrpSpPr>
            <p:cNvPr id="4" name="Group 3">
              <a:extLst>
                <a:ext uri="{FF2B5EF4-FFF2-40B4-BE49-F238E27FC236}">
                  <a16:creationId xmlns:a16="http://schemas.microsoft.com/office/drawing/2014/main" id="{D290487B-A6E9-437D-BF6B-DECA101861E0}"/>
                </a:ext>
              </a:extLst>
            </p:cNvPr>
            <p:cNvGrpSpPr/>
            <p:nvPr userDrawn="1"/>
          </p:nvGrpSpPr>
          <p:grpSpPr bwMode="ltGray">
            <a:xfrm>
              <a:off x="8507413" y="1457714"/>
              <a:ext cx="3680790" cy="5392441"/>
              <a:chOff x="8507413" y="1457714"/>
              <a:chExt cx="3680790" cy="5392441"/>
            </a:xfrm>
          </p:grpSpPr>
          <p:sp>
            <p:nvSpPr>
              <p:cNvPr id="13" name="Freeform: Shape 12">
                <a:extLst>
                  <a:ext uri="{FF2B5EF4-FFF2-40B4-BE49-F238E27FC236}">
                    <a16:creationId xmlns:a16="http://schemas.microsoft.com/office/drawing/2014/main" id="{285E805E-4231-45DB-8A14-5399CB45391A}"/>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4" name="Freeform: Shape 13">
                <a:extLst>
                  <a:ext uri="{FF2B5EF4-FFF2-40B4-BE49-F238E27FC236}">
                    <a16:creationId xmlns:a16="http://schemas.microsoft.com/office/drawing/2014/main" id="{DFDE39E9-1219-4051-9802-96EAB781F00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5" name="Freeform: Shape 14">
                <a:extLst>
                  <a:ext uri="{FF2B5EF4-FFF2-40B4-BE49-F238E27FC236}">
                    <a16:creationId xmlns:a16="http://schemas.microsoft.com/office/drawing/2014/main" id="{459518C0-9601-4903-8E64-59C2A5A74416}"/>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6" name="Freeform: Shape 15">
                <a:extLst>
                  <a:ext uri="{FF2B5EF4-FFF2-40B4-BE49-F238E27FC236}">
                    <a16:creationId xmlns:a16="http://schemas.microsoft.com/office/drawing/2014/main" id="{F7FCD084-9382-4C64-BDBC-4DCF28B3CD8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3243FCA5-0F8A-427A-880F-9F40160F12ED}"/>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EFF4C578-2440-4F26-A60F-5CA90CAA6D61}"/>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CEF7ADEA-8CEF-492D-9F92-190B55D2BED8}"/>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DB4B8DD8-A85E-44C1-9F54-53F39178CBCF}"/>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74ACCAE7-DDE4-434E-AF91-FAE821C7B9EE}"/>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E3FBD65C-1E45-47D6-95C6-95F373CBD00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C0D964A9-D9A9-4848-87BC-70181C9D4740}"/>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A43537D6-BB34-46C2-BF66-56A2A3E9914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DDF001CE-D6E9-4370-8946-0D20518AB760}"/>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10E66189-95C6-4AC2-AC38-5713DA261DB4}"/>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2ED301EF-EA02-47F6-94C3-EA485129024E}"/>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5DD55226-388E-4C7E-BEE9-D6B0BB46DB96}"/>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29" name="Straight Connector 28">
                <a:extLst>
                  <a:ext uri="{FF2B5EF4-FFF2-40B4-BE49-F238E27FC236}">
                    <a16:creationId xmlns:a16="http://schemas.microsoft.com/office/drawing/2014/main" id="{E6F7A054-AA4C-4B39-86E9-0F4173740713}"/>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27AEBCD3-EDEC-4B27-9067-0F3B05B9DB3F}"/>
                </a:ext>
              </a:extLst>
            </p:cNvPr>
            <p:cNvGrpSpPr/>
            <p:nvPr userDrawn="1"/>
          </p:nvGrpSpPr>
          <p:grpSpPr bwMode="ltGray">
            <a:xfrm>
              <a:off x="7545167" y="-21839"/>
              <a:ext cx="1192433" cy="1098538"/>
              <a:chOff x="7545167" y="-9139"/>
              <a:chExt cx="1192433" cy="1098538"/>
            </a:xfrm>
          </p:grpSpPr>
          <p:sp>
            <p:nvSpPr>
              <p:cNvPr id="10" name="Freeform: Shape 9">
                <a:extLst>
                  <a:ext uri="{FF2B5EF4-FFF2-40B4-BE49-F238E27FC236}">
                    <a16:creationId xmlns:a16="http://schemas.microsoft.com/office/drawing/2014/main" id="{C3A7B0A1-7844-4AD5-A50D-9977B2E8AD0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1" name="Freeform: Shape 10">
                <a:extLst>
                  <a:ext uri="{FF2B5EF4-FFF2-40B4-BE49-F238E27FC236}">
                    <a16:creationId xmlns:a16="http://schemas.microsoft.com/office/drawing/2014/main" id="{73CE46AB-5DB8-444B-8481-67AC68678015}"/>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2" name="Freeform: Shape 11">
                <a:extLst>
                  <a:ext uri="{FF2B5EF4-FFF2-40B4-BE49-F238E27FC236}">
                    <a16:creationId xmlns:a16="http://schemas.microsoft.com/office/drawing/2014/main" id="{0F512D9B-5E7E-43FA-9697-E5B5332ACFB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6" name="Group 5">
              <a:extLst>
                <a:ext uri="{FF2B5EF4-FFF2-40B4-BE49-F238E27FC236}">
                  <a16:creationId xmlns:a16="http://schemas.microsoft.com/office/drawing/2014/main" id="{E635C037-7D0B-4B10-9038-4977AE2EA9EB}"/>
                </a:ext>
              </a:extLst>
            </p:cNvPr>
            <p:cNvGrpSpPr/>
            <p:nvPr userDrawn="1"/>
          </p:nvGrpSpPr>
          <p:grpSpPr bwMode="ltGray">
            <a:xfrm>
              <a:off x="6256117" y="5896894"/>
              <a:ext cx="1057910" cy="971314"/>
              <a:chOff x="6256117" y="5896894"/>
              <a:chExt cx="1057910" cy="971314"/>
            </a:xfrm>
          </p:grpSpPr>
          <p:sp>
            <p:nvSpPr>
              <p:cNvPr id="7" name="Freeform: Shape 6">
                <a:extLst>
                  <a:ext uri="{FF2B5EF4-FFF2-40B4-BE49-F238E27FC236}">
                    <a16:creationId xmlns:a16="http://schemas.microsoft.com/office/drawing/2014/main" id="{101A346D-326A-4354-B739-05B02B738F7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 name="Freeform: Shape 7">
                <a:extLst>
                  <a:ext uri="{FF2B5EF4-FFF2-40B4-BE49-F238E27FC236}">
                    <a16:creationId xmlns:a16="http://schemas.microsoft.com/office/drawing/2014/main" id="{1008E325-60B5-4A40-845B-F47C792F9F2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9" name="Freeform: Shape 8">
                <a:extLst>
                  <a:ext uri="{FF2B5EF4-FFF2-40B4-BE49-F238E27FC236}">
                    <a16:creationId xmlns:a16="http://schemas.microsoft.com/office/drawing/2014/main" id="{ED41878C-7B67-4009-9C0E-73AD4D76C22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53238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11210" y="1770167"/>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821447" y="-1612378"/>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0"/>
            <a:ext cx="5999658" cy="6968531"/>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34856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a:prstGeom prst="rect">
            <a:avLst/>
          </a:prstGeo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1477396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a:prstGeom prst="rect">
            <a:avLst/>
          </a:prstGeo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26624884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119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3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7" y="2019300"/>
            <a:ext cx="5359401"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199" y="3284459"/>
            <a:ext cx="5359401"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44355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6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7" y="2697032"/>
            <a:ext cx="5359401" cy="1107996"/>
          </a:xfrm>
          <a:prstGeom prst="rect">
            <a:avLst/>
          </a:prstGeo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8563741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4370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4657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AF1B466-0564-43F9-8D6C-164B32A60AE3}"/>
              </a:ext>
            </a:extLst>
          </p:cNvPr>
          <p:cNvSpPr>
            <a:spLocks noGrp="1"/>
          </p:cNvSpPr>
          <p:nvPr>
            <p:ph type="title" hasCustomPrompt="1"/>
          </p:nvPr>
        </p:nvSpPr>
        <p:spPr>
          <a:xfrm>
            <a:off x="584200" y="457200"/>
            <a:ext cx="11018520" cy="553998"/>
          </a:xfrm>
          <a:prstGeom prst="rect">
            <a:avLst/>
          </a:prstGeom>
        </p:spPr>
        <p:txBody>
          <a:bodyPr/>
          <a:lstStyle>
            <a:lvl1pPr>
              <a:defRPr/>
            </a:lvl1pPr>
          </a:lstStyle>
          <a:p>
            <a:r>
              <a:rPr lang="en-US"/>
              <a:t>Software Code Slide</a:t>
            </a:r>
          </a:p>
        </p:txBody>
      </p:sp>
    </p:spTree>
    <p:extLst>
      <p:ext uri="{BB962C8B-B14F-4D97-AF65-F5344CB8AC3E}">
        <p14:creationId xmlns:p14="http://schemas.microsoft.com/office/powerpoint/2010/main" val="39374913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Evaluation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a:prstGeom prst="rect">
            <a:avLst/>
          </a:prstGeo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65581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372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8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a:prstGeom prst="rect">
            <a:avLst/>
          </a:prstGeom>
        </p:spPr>
        <p:txBody>
          <a:bodyPr/>
          <a:lstStyle>
            <a:lvl1pPr algn="l">
              <a:defRPr/>
            </a:lvl1pPr>
          </a:lstStyle>
          <a:p>
            <a:r>
              <a:rPr lang="en-US"/>
              <a:t>Click to edit Master title style</a:t>
            </a:r>
          </a:p>
        </p:txBody>
      </p:sp>
      <p:grpSp>
        <p:nvGrpSpPr>
          <p:cNvPr id="8" name="Group 7">
            <a:extLst>
              <a:ext uri="{FF2B5EF4-FFF2-40B4-BE49-F238E27FC236}">
                <a16:creationId xmlns:a16="http://schemas.microsoft.com/office/drawing/2014/main" id="{DFF14F15-29DA-49D8-BC4E-3860504929CD}"/>
              </a:ext>
            </a:extLst>
          </p:cNvPr>
          <p:cNvGrpSpPr/>
          <p:nvPr/>
        </p:nvGrpSpPr>
        <p:grpSpPr>
          <a:xfrm>
            <a:off x="960254" y="1821523"/>
            <a:ext cx="5347566" cy="3093377"/>
            <a:chOff x="670952" y="1151068"/>
            <a:chExt cx="5783636" cy="3345628"/>
          </a:xfrm>
        </p:grpSpPr>
        <p:sp>
          <p:nvSpPr>
            <p:cNvPr id="14" name="Rectangle: Rounded Corners 13">
              <a:extLst>
                <a:ext uri="{FF2B5EF4-FFF2-40B4-BE49-F238E27FC236}">
                  <a16:creationId xmlns:a16="http://schemas.microsoft.com/office/drawing/2014/main" id="{33FFB8B9-2642-4EBF-A299-6BBDE0B64666}"/>
                </a:ext>
              </a:extLst>
            </p:cNvPr>
            <p:cNvSpPr/>
            <p:nvPr/>
          </p:nvSpPr>
          <p:spPr bwMode="auto">
            <a:xfrm>
              <a:off x="670952" y="1151068"/>
              <a:ext cx="5783636" cy="3345628"/>
            </a:xfrm>
            <a:prstGeom prst="roundRect">
              <a:avLst>
                <a:gd name="adj" fmla="val 3537"/>
              </a:avLst>
            </a:prstGeom>
            <a:solidFill>
              <a:schemeClr val="tx1"/>
            </a:solidFill>
            <a:ln>
              <a:noFill/>
              <a:headEnd type="none" w="med" len="med"/>
              <a:tailEnd type="none" w="med" len="med"/>
            </a:ln>
            <a:effectLst>
              <a:outerShdw blurRad="1524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5" name="Rectangle 14">
              <a:extLst>
                <a:ext uri="{FF2B5EF4-FFF2-40B4-BE49-F238E27FC236}">
                  <a16:creationId xmlns:a16="http://schemas.microsoft.com/office/drawing/2014/main" id="{07255E1D-120F-4B1E-BE18-B2DA968053E0}"/>
                </a:ext>
              </a:extLst>
            </p:cNvPr>
            <p:cNvSpPr/>
            <p:nvPr/>
          </p:nvSpPr>
          <p:spPr bwMode="auto">
            <a:xfrm>
              <a:off x="943283" y="1376979"/>
              <a:ext cx="5238974" cy="289380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4" name="Picture Placeholder 3">
            <a:extLst>
              <a:ext uri="{FF2B5EF4-FFF2-40B4-BE49-F238E27FC236}">
                <a16:creationId xmlns:a16="http://schemas.microsoft.com/office/drawing/2014/main" id="{F779E66B-9D65-4C6B-926C-296F99F454E3}"/>
              </a:ext>
            </a:extLst>
          </p:cNvPr>
          <p:cNvSpPr>
            <a:spLocks noGrp="1"/>
          </p:cNvSpPr>
          <p:nvPr>
            <p:ph type="pic" sz="quarter" idx="10"/>
          </p:nvPr>
        </p:nvSpPr>
        <p:spPr>
          <a:xfrm>
            <a:off x="1201738" y="2026775"/>
            <a:ext cx="4854284" cy="2682875"/>
          </a:xfrm>
          <a:pattFill prst="pct5">
            <a:fgClr>
              <a:schemeClr val="accent1"/>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794929416"/>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guide id="3" orient="horz" pos="2256">
          <p15:clr>
            <a:srgbClr val="FBAE40"/>
          </p15:clr>
        </p15:guide>
        <p15:guide id="4" orient="horz" pos="864">
          <p15:clr>
            <a:srgbClr val="FBAE40"/>
          </p15:clr>
        </p15:guide>
        <p15:guide id="5" orient="horz" pos="2832">
          <p15:clr>
            <a:srgbClr val="FBAE40"/>
          </p15:clr>
        </p15:guide>
        <p15:guide id="6" orient="horz" pos="3336">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5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250740891"/>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guide id="3" orient="horz" pos="2256">
          <p15:clr>
            <a:srgbClr val="FBAE40"/>
          </p15:clr>
        </p15:guide>
        <p15:guide id="4" orient="horz" pos="864">
          <p15:clr>
            <a:srgbClr val="FBAE40"/>
          </p15:clr>
        </p15:guide>
        <p15:guide id="5" orient="horz" pos="2832">
          <p15:clr>
            <a:srgbClr val="FBAE40"/>
          </p15:clr>
        </p15:guide>
        <p15:guide id="6" orient="horz" pos="3096">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3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659445" y="3210472"/>
            <a:ext cx="3599603" cy="725417"/>
          </a:xfrm>
          <a:prstGeom prst="rect">
            <a:avLst/>
          </a:prstGeom>
        </p:spPr>
        <p:txBody>
          <a:bodyPr/>
          <a:lstStyle>
            <a:lvl1pPr algn="l">
              <a:defRPr/>
            </a:lvl1pPr>
          </a:lstStyle>
          <a:p>
            <a:r>
              <a:rPr lang="en-US"/>
              <a:t>Click to edit Master title style</a:t>
            </a:r>
          </a:p>
        </p:txBody>
      </p:sp>
      <p:sp>
        <p:nvSpPr>
          <p:cNvPr id="6" name="Rectangle 5">
            <a:extLst>
              <a:ext uri="{FF2B5EF4-FFF2-40B4-BE49-F238E27FC236}">
                <a16:creationId xmlns:a16="http://schemas.microsoft.com/office/drawing/2014/main" id="{3AD46170-1303-4040-8C68-0B6DC1AC7A1B}"/>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7" name="TextBox 6">
            <a:extLst>
              <a:ext uri="{FF2B5EF4-FFF2-40B4-BE49-F238E27FC236}">
                <a16:creationId xmlns:a16="http://schemas.microsoft.com/office/drawing/2014/main" id="{E362E056-E126-4AF7-94AD-BDF3AD8D62A6}"/>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Tree>
    <p:extLst>
      <p:ext uri="{BB962C8B-B14F-4D97-AF65-F5344CB8AC3E}">
        <p14:creationId xmlns:p14="http://schemas.microsoft.com/office/powerpoint/2010/main" val="2618813228"/>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7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760286098"/>
      </p:ext>
    </p:extLst>
  </p:cSld>
  <p:clrMapOvr>
    <a:masterClrMapping/>
  </p:clrMapOvr>
  <p:extLst>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6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009536322"/>
      </p:ext>
    </p:extLst>
  </p:cSld>
  <p:clrMapOvr>
    <a:masterClrMapping/>
  </p:clrMapOvr>
  <p:extLst>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9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grpSp>
        <p:nvGrpSpPr>
          <p:cNvPr id="15" name="Group 14">
            <a:extLst>
              <a:ext uri="{FF2B5EF4-FFF2-40B4-BE49-F238E27FC236}">
                <a16:creationId xmlns:a16="http://schemas.microsoft.com/office/drawing/2014/main" id="{1AB169BD-1499-4A2D-B0F4-B86ABBBD5679}"/>
              </a:ext>
            </a:extLst>
          </p:cNvPr>
          <p:cNvGrpSpPr/>
          <p:nvPr/>
        </p:nvGrpSpPr>
        <p:grpSpPr>
          <a:xfrm>
            <a:off x="960254" y="1821523"/>
            <a:ext cx="5347566" cy="3093377"/>
            <a:chOff x="670952" y="1151068"/>
            <a:chExt cx="5783636" cy="3345628"/>
          </a:xfrm>
        </p:grpSpPr>
        <p:sp>
          <p:nvSpPr>
            <p:cNvPr id="16" name="Rectangle: Rounded Corners 15">
              <a:extLst>
                <a:ext uri="{FF2B5EF4-FFF2-40B4-BE49-F238E27FC236}">
                  <a16:creationId xmlns:a16="http://schemas.microsoft.com/office/drawing/2014/main" id="{E34394EB-341B-4994-ACEB-057521B7F969}"/>
                </a:ext>
              </a:extLst>
            </p:cNvPr>
            <p:cNvSpPr/>
            <p:nvPr/>
          </p:nvSpPr>
          <p:spPr bwMode="auto">
            <a:xfrm>
              <a:off x="670952" y="1151068"/>
              <a:ext cx="5783636" cy="3345628"/>
            </a:xfrm>
            <a:prstGeom prst="roundRect">
              <a:avLst>
                <a:gd name="adj" fmla="val 3537"/>
              </a:avLst>
            </a:prstGeom>
            <a:solidFill>
              <a:schemeClr val="tx1"/>
            </a:solidFill>
            <a:ln>
              <a:noFill/>
              <a:headEnd type="none" w="med" len="med"/>
              <a:tailEnd type="none" w="med" len="med"/>
            </a:ln>
            <a:effectLst>
              <a:outerShdw blurRad="1524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7" name="Rectangle 16">
              <a:extLst>
                <a:ext uri="{FF2B5EF4-FFF2-40B4-BE49-F238E27FC236}">
                  <a16:creationId xmlns:a16="http://schemas.microsoft.com/office/drawing/2014/main" id="{A32020B5-58C1-4052-A573-1512B0F3F4B8}"/>
                </a:ext>
              </a:extLst>
            </p:cNvPr>
            <p:cNvSpPr/>
            <p:nvPr/>
          </p:nvSpPr>
          <p:spPr bwMode="auto">
            <a:xfrm>
              <a:off x="943283" y="1376979"/>
              <a:ext cx="5238974" cy="289380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18" name="Picture Placeholder 3">
            <a:extLst>
              <a:ext uri="{FF2B5EF4-FFF2-40B4-BE49-F238E27FC236}">
                <a16:creationId xmlns:a16="http://schemas.microsoft.com/office/drawing/2014/main" id="{3114A655-2404-4CF7-8229-25F1231B0F44}"/>
              </a:ext>
            </a:extLst>
          </p:cNvPr>
          <p:cNvSpPr>
            <a:spLocks noGrp="1"/>
          </p:cNvSpPr>
          <p:nvPr>
            <p:ph type="pic" sz="quarter" idx="11"/>
          </p:nvPr>
        </p:nvSpPr>
        <p:spPr>
          <a:xfrm>
            <a:off x="1201738" y="2026775"/>
            <a:ext cx="4854284" cy="2682875"/>
          </a:xfrm>
          <a:pattFill prst="pct5">
            <a:fgClr>
              <a:schemeClr val="accent1"/>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211896285"/>
      </p:ext>
    </p:extLst>
  </p:cSld>
  <p:clrMapOvr>
    <a:masterClrMapping/>
  </p:clrMapOvr>
  <p:extLst>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Company History 1">
    <p:spTree>
      <p:nvGrpSpPr>
        <p:cNvPr id="1" name=""/>
        <p:cNvGrpSpPr/>
        <p:nvPr/>
      </p:nvGrpSpPr>
      <p:grpSpPr>
        <a:xfrm>
          <a:off x="0" y="0"/>
          <a:ext cx="0" cy="0"/>
          <a:chOff x="0" y="0"/>
          <a:chExt cx="0" cy="0"/>
        </a:xfrm>
      </p:grpSpPr>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7" name="Rectangle 6">
            <a:extLst>
              <a:ext uri="{FF2B5EF4-FFF2-40B4-BE49-F238E27FC236}">
                <a16:creationId xmlns:a16="http://schemas.microsoft.com/office/drawing/2014/main" id="{429579B5-509F-459A-AA1D-788059A66602}"/>
              </a:ext>
            </a:extLst>
          </p:cNvPr>
          <p:cNvSpPr>
            <a:spLocks/>
          </p:cNvSpPr>
          <p:nvPr userDrawn="1"/>
        </p:nvSpPr>
        <p:spPr>
          <a:xfrm>
            <a:off x="2" y="3210472"/>
            <a:ext cx="5970492"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Muli Regular" charset="0"/>
              <a:ea typeface="+mn-ea"/>
              <a:cs typeface="+mn-cs"/>
            </a:endParaRPr>
          </a:p>
        </p:txBody>
      </p:sp>
      <p:sp>
        <p:nvSpPr>
          <p:cNvPr id="8" name="Rectangle 7">
            <a:extLst>
              <a:ext uri="{FF2B5EF4-FFF2-40B4-BE49-F238E27FC236}">
                <a16:creationId xmlns:a16="http://schemas.microsoft.com/office/drawing/2014/main" id="{956149FF-F01D-42FA-9904-EB7CFB139245}"/>
              </a:ext>
            </a:extLst>
          </p:cNvPr>
          <p:cNvSpPr/>
          <p:nvPr userDrawn="1"/>
        </p:nvSpPr>
        <p:spPr bwMode="auto">
          <a:xfrm>
            <a:off x="574197" y="292100"/>
            <a:ext cx="5004411"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5" name="Title 3">
            <a:extLst>
              <a:ext uri="{FF2B5EF4-FFF2-40B4-BE49-F238E27FC236}">
                <a16:creationId xmlns:a16="http://schemas.microsoft.com/office/drawing/2014/main" id="{3F851125-7A67-488F-98E9-FE8725E8E9C0}"/>
              </a:ext>
            </a:extLst>
          </p:cNvPr>
          <p:cNvSpPr>
            <a:spLocks noGrp="1"/>
          </p:cNvSpPr>
          <p:nvPr>
            <p:ph type="title"/>
          </p:nvPr>
        </p:nvSpPr>
        <p:spPr>
          <a:xfrm>
            <a:off x="6138452" y="3210472"/>
            <a:ext cx="5209836" cy="430887"/>
          </a:xfrm>
        </p:spPr>
        <p:txBody>
          <a:bodyPr anchor="b"/>
          <a:lstStyle>
            <a:lvl1pPr algn="l">
              <a:defRPr sz="2800"/>
            </a:lvl1pPr>
          </a:lstStyle>
          <a:p>
            <a:r>
              <a:rPr lang="en-US"/>
              <a:t>Click to edit Master</a:t>
            </a:r>
          </a:p>
        </p:txBody>
      </p:sp>
      <p:sp>
        <p:nvSpPr>
          <p:cNvPr id="16" name="Text Placeholder 13">
            <a:extLst>
              <a:ext uri="{FF2B5EF4-FFF2-40B4-BE49-F238E27FC236}">
                <a16:creationId xmlns:a16="http://schemas.microsoft.com/office/drawing/2014/main" id="{3B4AD330-F026-4EFD-A3B3-7C4548F375BF}"/>
              </a:ext>
            </a:extLst>
          </p:cNvPr>
          <p:cNvSpPr>
            <a:spLocks noGrp="1"/>
          </p:cNvSpPr>
          <p:nvPr>
            <p:ph type="body" sz="quarter" idx="10"/>
          </p:nvPr>
        </p:nvSpPr>
        <p:spPr>
          <a:xfrm>
            <a:off x="6138452" y="3747407"/>
            <a:ext cx="5215659" cy="409754"/>
          </a:xfrm>
        </p:spPr>
        <p:txBody>
          <a:bodyPr/>
          <a:lstStyle>
            <a:lvl1pPr marL="0" indent="0">
              <a:spcBef>
                <a:spcPts val="600"/>
              </a:spcBef>
              <a:buFont typeface="Arial" panose="020B0604020202020204" pitchFamily="34" charset="0"/>
              <a:buNone/>
              <a:defRPr sz="1400">
                <a:solidFill>
                  <a:schemeClr val="accent5"/>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p:txBody>
      </p:sp>
    </p:spTree>
    <p:extLst>
      <p:ext uri="{BB962C8B-B14F-4D97-AF65-F5344CB8AC3E}">
        <p14:creationId xmlns:p14="http://schemas.microsoft.com/office/powerpoint/2010/main" val="3556105288"/>
      </p:ext>
    </p:extLst>
  </p:cSld>
  <p:clrMapOvr>
    <a:masterClrMapping/>
  </p:clrMapOvr>
  <p:extLst>
    <p:ext uri="{DCECCB84-F9BA-43D5-87BE-67443E8EF086}">
      <p15:sldGuideLst xmlns:p15="http://schemas.microsoft.com/office/powerpoint/2012/main">
        <p15:guide id="1" pos="1920">
          <p15:clr>
            <a:srgbClr val="FBAE40"/>
          </p15:clr>
        </p15:guide>
        <p15:guide id="2" orient="horz" pos="1992">
          <p15:clr>
            <a:srgbClr val="FBAE40"/>
          </p15:clr>
        </p15:guide>
        <p15:guide id="3" pos="480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4870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1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728667" y="3210472"/>
            <a:ext cx="3469801" cy="630339"/>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238063983"/>
      </p:ext>
    </p:extLst>
  </p:cSld>
  <p:clrMapOvr>
    <a:masterClrMapping/>
  </p:clrMapOvr>
  <p:extLst>
    <p:ext uri="{DCECCB84-F9BA-43D5-87BE-67443E8EF086}">
      <p15:sldGuideLst xmlns:p15="http://schemas.microsoft.com/office/powerpoint/2012/main">
        <p15:guide id="1" pos="2280">
          <p15:clr>
            <a:srgbClr val="FBAE40"/>
          </p15:clr>
        </p15:guide>
        <p15:guide id="2" orient="horz" pos="2016">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2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0" name="Title 3">
            <a:extLst>
              <a:ext uri="{FF2B5EF4-FFF2-40B4-BE49-F238E27FC236}">
                <a16:creationId xmlns:a16="http://schemas.microsoft.com/office/drawing/2014/main" id="{46719086-594E-4EFF-9A30-EDD535FD7DD3}"/>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1" name="Text Placeholder 13">
            <a:extLst>
              <a:ext uri="{FF2B5EF4-FFF2-40B4-BE49-F238E27FC236}">
                <a16:creationId xmlns:a16="http://schemas.microsoft.com/office/drawing/2014/main" id="{D4CB1C8C-E2A3-4E26-BEE3-4B538680F156}"/>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66939322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658428487"/>
      </p:ext>
    </p:extLst>
  </p:cSld>
  <p:clrMapOvr>
    <a:overrideClrMapping bg1="lt1" tx1="dk1" bg2="lt2" tx2="dk2" accent1="accent1" accent2="accent2" accent3="accent3" accent4="accent4" accent5="accent5" accent6="accent6" hlink="hlink" folHlink="folHlink"/>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Title Only">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200" y="2382559"/>
            <a:ext cx="3746260" cy="984885"/>
          </a:xfrm>
          <a:prstGeom prst="rect">
            <a:avLst/>
          </a:prstGeom>
        </p:spPr>
        <p:txBody>
          <a:bodyPr anchor="ctr"/>
          <a:lstStyle>
            <a:lvl1pPr algn="l">
              <a:defRPr sz="3200"/>
            </a:lvl1pPr>
          </a:lstStyle>
          <a:p>
            <a:r>
              <a:rPr lang="en-US"/>
              <a:t>Click to edit Master title style</a:t>
            </a:r>
          </a:p>
        </p:txBody>
      </p:sp>
      <p:sp>
        <p:nvSpPr>
          <p:cNvPr id="3" name="Rectangle 2">
            <a:extLst>
              <a:ext uri="{FF2B5EF4-FFF2-40B4-BE49-F238E27FC236}">
                <a16:creationId xmlns:a16="http://schemas.microsoft.com/office/drawing/2014/main" id="{4726D277-5B5E-4EFC-9E04-A5B73BE15896}"/>
              </a:ext>
            </a:extLst>
          </p:cNvPr>
          <p:cNvSpPr/>
          <p:nvPr/>
        </p:nvSpPr>
        <p:spPr bwMode="auto">
          <a:xfrm>
            <a:off x="6325644" y="0"/>
            <a:ext cx="5866356" cy="6858000"/>
          </a:xfrm>
          <a:prstGeom prst="rect">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Rectangle 3">
            <a:extLst>
              <a:ext uri="{FF2B5EF4-FFF2-40B4-BE49-F238E27FC236}">
                <a16:creationId xmlns:a16="http://schemas.microsoft.com/office/drawing/2014/main" id="{7362C29E-2174-4870-98E5-5008ED6C11CF}"/>
              </a:ext>
            </a:extLst>
          </p:cNvPr>
          <p:cNvSpPr/>
          <p:nvPr/>
        </p:nvSpPr>
        <p:spPr bwMode="auto">
          <a:xfrm>
            <a:off x="5411244" y="647846"/>
            <a:ext cx="6196556" cy="570723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6" name="Text Placeholder 5">
            <a:extLst>
              <a:ext uri="{FF2B5EF4-FFF2-40B4-BE49-F238E27FC236}">
                <a16:creationId xmlns:a16="http://schemas.microsoft.com/office/drawing/2014/main" id="{1D647D87-90CB-4DC6-AAF1-6422B13BA317}"/>
              </a:ext>
            </a:extLst>
          </p:cNvPr>
          <p:cNvSpPr>
            <a:spLocks noGrp="1"/>
          </p:cNvSpPr>
          <p:nvPr>
            <p:ph type="body" sz="quarter" idx="10"/>
          </p:nvPr>
        </p:nvSpPr>
        <p:spPr>
          <a:xfrm>
            <a:off x="584200" y="3429000"/>
            <a:ext cx="3865563" cy="1692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3408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prstGeom prst="rect">
            <a:avLst/>
          </a:prstGeo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85794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6042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9905539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973"/>
          </a:xfrm>
          <a:prstGeom prst="rect">
            <a:avLst/>
          </a:prstGeom>
        </p:spPr>
      </p:pic>
    </p:spTree>
    <p:extLst>
      <p:ext uri="{BB962C8B-B14F-4D97-AF65-F5344CB8AC3E}">
        <p14:creationId xmlns:p14="http://schemas.microsoft.com/office/powerpoint/2010/main" val="2020289523"/>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bwMode="auto">
          <a:xfrm>
            <a:off x="0" y="1447799"/>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5914141"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a:t>Speaker Nam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23292" y="110401"/>
            <a:ext cx="1858780" cy="68374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3944377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p:cNvSpPr/>
          <p:nvPr userDrawn="1"/>
        </p:nvSpPr>
        <p:spPr bwMode="auto">
          <a:xfrm>
            <a:off x="0" y="1447799"/>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5914141"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a:t>Speak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96500" y="91818"/>
            <a:ext cx="2003685" cy="737043"/>
          </a:xfrm>
          <a:prstGeom prst="rect">
            <a:avLst/>
          </a:prstGeom>
        </p:spPr>
      </p:pic>
    </p:spTree>
    <p:extLst>
      <p:ext uri="{BB962C8B-B14F-4D97-AF65-F5344CB8AC3E}">
        <p14:creationId xmlns:p14="http://schemas.microsoft.com/office/powerpoint/2010/main" val="1499717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87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8" name="Rectangle 7"/>
          <p:cNvSpPr/>
          <p:nvPr userDrawn="1"/>
        </p:nvSpPr>
        <p:spPr bwMode="auto">
          <a:xfrm>
            <a:off x="0" y="1447799"/>
            <a:ext cx="6648450" cy="4623217"/>
          </a:xfrm>
          <a:prstGeom prst="rect">
            <a:avLst/>
          </a:prstGeom>
          <a:solidFill>
            <a:schemeClr val="accent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5914141"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914142"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a:t>Speaker Name</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3292" y="110401"/>
            <a:ext cx="1858780" cy="683740"/>
          </a:xfrm>
          <a:prstGeom prst="rect">
            <a:avLst/>
          </a:prstGeom>
        </p:spPr>
      </p:pic>
    </p:spTree>
    <p:extLst>
      <p:ext uri="{BB962C8B-B14F-4D97-AF65-F5344CB8AC3E}">
        <p14:creationId xmlns:p14="http://schemas.microsoft.com/office/powerpoint/2010/main" val="2503137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303486"/>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23396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165427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15944"/>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31724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6312377"/>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237147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74523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20871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8"/>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2"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5978437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2694477"/>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13885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92190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04433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1348721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10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56932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49283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00676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3972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73090"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79851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30292"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6920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6858000"/>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49244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7"/>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434790"/>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3" y="1198937"/>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0035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243101843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30469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15787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214563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69615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5_Title with photo and ti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434422-A7B5-43D5-BE56-C36B19E81E3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the </a:t>
            </a:r>
            <a:br>
              <a:rPr lang="en-US" sz="3200">
                <a:latin typeface="Segoe UI Semilight" charset="0"/>
                <a:ea typeface="Segoe UI Semilight" charset="0"/>
                <a:cs typeface="Segoe UI Semilight" charset="0"/>
              </a:rPr>
            </a:br>
            <a:r>
              <a:rPr lang="en-US" sz="3200">
                <a:latin typeface="Segoe UI Semilight" charset="0"/>
                <a:ea typeface="Segoe UI Semilight" charset="0"/>
                <a:cs typeface="Segoe UI Semilight" charset="0"/>
              </a:rPr>
              <a:t>Government industry</a:t>
            </a:r>
          </a:p>
        </p:txBody>
      </p:sp>
    </p:spTree>
    <p:extLst>
      <p:ext uri="{BB962C8B-B14F-4D97-AF65-F5344CB8AC3E}">
        <p14:creationId xmlns:p14="http://schemas.microsoft.com/office/powerpoint/2010/main" val="75385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6_Title with photo and ti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6E337C-C29E-48B3-BD87-5CFADA3D01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192000" cy="686175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the </a:t>
            </a:r>
            <a:br>
              <a:rPr lang="en-US" sz="3200">
                <a:latin typeface="Segoe UI Semilight" charset="0"/>
                <a:ea typeface="Segoe UI Semilight" charset="0"/>
                <a:cs typeface="Segoe UI Semilight" charset="0"/>
              </a:rPr>
            </a:br>
            <a:r>
              <a:rPr lang="en-US" sz="3200">
                <a:latin typeface="Segoe UI Semilight" charset="0"/>
                <a:ea typeface="Segoe UI Semilight" charset="0"/>
                <a:cs typeface="Segoe UI Semilight" charset="0"/>
              </a:rPr>
              <a:t>Healthcare industry</a:t>
            </a:r>
          </a:p>
        </p:txBody>
      </p:sp>
    </p:spTree>
    <p:extLst>
      <p:ext uri="{BB962C8B-B14F-4D97-AF65-F5344CB8AC3E}">
        <p14:creationId xmlns:p14="http://schemas.microsoft.com/office/powerpoint/2010/main" val="2863387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_Title with photo and ti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5038ED-9DD7-4872-A779-7DF36CFEBFA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Education</a:t>
            </a:r>
          </a:p>
        </p:txBody>
      </p:sp>
    </p:spTree>
    <p:extLst>
      <p:ext uri="{BB962C8B-B14F-4D97-AF65-F5344CB8AC3E}">
        <p14:creationId xmlns:p14="http://schemas.microsoft.com/office/powerpoint/2010/main" val="1812535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AEA8EA-FFF8-4D86-BD1F-20DCCEB0E6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FB7C5526-9E24-404F-BD7B-56D392ACE98D}"/>
              </a:ext>
            </a:extLst>
          </p:cNvPr>
          <p:cNvSpPr txBox="1">
            <a:spLocks/>
          </p:cNvSpPr>
          <p:nvPr userDrawn="1"/>
        </p:nvSpPr>
        <p:spPr>
          <a:xfrm>
            <a:off x="0" y="0"/>
            <a:ext cx="6504317"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vert="horz" lIns="365760" tIns="137160" rIns="109728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r>
              <a:rPr lang="en-US" sz="3200">
                <a:latin typeface="Segoe UI Semilight" charset="0"/>
                <a:ea typeface="Segoe UI Semilight" charset="0"/>
                <a:cs typeface="Segoe UI Semilight" charset="0"/>
              </a:rPr>
              <a:t>The GDPR in the Manufacturing industry</a:t>
            </a:r>
          </a:p>
        </p:txBody>
      </p:sp>
    </p:spTree>
    <p:extLst>
      <p:ext uri="{BB962C8B-B14F-4D97-AF65-F5344CB8AC3E}">
        <p14:creationId xmlns:p14="http://schemas.microsoft.com/office/powerpoint/2010/main" val="305351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231598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0" y="3429000"/>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15740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14DD1-8435-4A5E-899A-3B61AC06809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A13F820-1E0F-46AF-95C0-771F6C7162D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C4A58FE-7715-4B0C-8C2D-E6EBF74D0B76}"/>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84B03FE-9382-46B1-AD01-6D979A6E39E4}"/>
              </a:ext>
            </a:extLst>
          </p:cNvPr>
          <p:cNvSpPr>
            <a:spLocks noGrp="1"/>
          </p:cNvSpPr>
          <p:nvPr>
            <p:ph type="ftr" sz="quarter" idx="11"/>
          </p:nvPr>
        </p:nvSpPr>
        <p:spPr/>
        <p:txBody>
          <a:bodyPr/>
          <a:lstStyle/>
          <a:p>
            <a:r>
              <a:rPr lang="en-GB"/>
              <a:t>@Techielass</a:t>
            </a:r>
          </a:p>
        </p:txBody>
      </p:sp>
      <p:sp>
        <p:nvSpPr>
          <p:cNvPr id="6" name="Slide Number Placeholder 5">
            <a:extLst>
              <a:ext uri="{FF2B5EF4-FFF2-40B4-BE49-F238E27FC236}">
                <a16:creationId xmlns:a16="http://schemas.microsoft.com/office/drawing/2014/main" id="{5AB7326F-50AF-4F23-8306-5A3B183D4CF6}"/>
              </a:ext>
            </a:extLst>
          </p:cNvPr>
          <p:cNvSpPr>
            <a:spLocks noGrp="1"/>
          </p:cNvSpPr>
          <p:nvPr>
            <p:ph type="sldNum" sz="quarter" idx="12"/>
          </p:nvPr>
        </p:nvSpPr>
        <p:spPr/>
        <p:txBody>
          <a:bodyPr/>
          <a:lstStyle/>
          <a:p>
            <a:fld id="{B11C1621-1274-4757-849D-4FB662A4A20B}" type="slidenum">
              <a:rPr lang="en-GB" smtClean="0"/>
              <a:t>‹#›</a:t>
            </a:fld>
            <a:endParaRPr lang="en-GB"/>
          </a:p>
        </p:txBody>
      </p:sp>
    </p:spTree>
    <p:extLst>
      <p:ext uri="{BB962C8B-B14F-4D97-AF65-F5344CB8AC3E}">
        <p14:creationId xmlns:p14="http://schemas.microsoft.com/office/powerpoint/2010/main" val="94801882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03975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2_Walkin (Global CISO Summit 2017)">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5473" t="3" r="10092" b="-1"/>
          <a:stretch/>
        </p:blipFill>
        <p:spPr>
          <a:xfrm>
            <a:off x="6096000" y="0"/>
            <a:ext cx="6096000" cy="6858000"/>
          </a:xfrm>
          <a:prstGeom prst="rect">
            <a:avLst/>
          </a:prstGeom>
        </p:spPr>
      </p:pic>
      <p:sp>
        <p:nvSpPr>
          <p:cNvPr id="4" name="Rectangle 3"/>
          <p:cNvSpPr/>
          <p:nvPr userDrawn="1"/>
        </p:nvSpPr>
        <p:spPr bwMode="auto">
          <a:xfrm>
            <a:off x="6096000" y="0"/>
            <a:ext cx="6095999" cy="6858001"/>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ext Box 3">
            <a:extLst>
              <a:ext uri="{FF2B5EF4-FFF2-40B4-BE49-F238E27FC236}">
                <a16:creationId xmlns:a16="http://schemas.microsoft.com/office/drawing/2014/main" id="{13D71EC4-68F9-41F2-A05D-095D8D58B363}"/>
              </a:ext>
            </a:extLst>
          </p:cNvPr>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solidFill>
                  <a:schemeClr val="bg1"/>
                </a:solidFill>
                <a:cs typeface="Segoe UI" pitchFamily="34" charset="0"/>
              </a:rPr>
              <a:t>© 2018 Microsoft Corporation. All rights reserved. </a:t>
            </a:r>
          </a:p>
        </p:txBody>
      </p:sp>
      <p:grpSp>
        <p:nvGrpSpPr>
          <p:cNvPr id="11" name="Group 10">
            <a:extLst>
              <a:ext uri="{FF2B5EF4-FFF2-40B4-BE49-F238E27FC236}">
                <a16:creationId xmlns:a16="http://schemas.microsoft.com/office/drawing/2014/main" id="{AD588F02-4C53-4A56-ABA6-259DD11FE745}"/>
              </a:ext>
            </a:extLst>
          </p:cNvPr>
          <p:cNvGrpSpPr>
            <a:grpSpLocks noChangeAspect="1"/>
          </p:cNvGrpSpPr>
          <p:nvPr userDrawn="1"/>
        </p:nvGrpSpPr>
        <p:grpSpPr bwMode="black">
          <a:xfrm>
            <a:off x="459102" y="470067"/>
            <a:ext cx="1419662" cy="304828"/>
            <a:chOff x="457200" y="1643393"/>
            <a:chExt cx="4492753" cy="964540"/>
          </a:xfrm>
        </p:grpSpPr>
        <p:pic>
          <p:nvPicPr>
            <p:cNvPr id="12" name="Picture 11">
              <a:extLst>
                <a:ext uri="{FF2B5EF4-FFF2-40B4-BE49-F238E27FC236}">
                  <a16:creationId xmlns:a16="http://schemas.microsoft.com/office/drawing/2014/main" id="{020F26F9-CF71-41F1-B218-0C40D1C5882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a:extLst>
                <a:ext uri="{FF2B5EF4-FFF2-40B4-BE49-F238E27FC236}">
                  <a16:creationId xmlns:a16="http://schemas.microsoft.com/office/drawing/2014/main" id="{1A0E3198-C9EF-44EF-A98E-AEA7F81F41AA}"/>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80083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211">
          <p15:clr>
            <a:srgbClr val="FBAE40"/>
          </p15:clr>
        </p15:guide>
        <p15:guide id="2" orient="horz" pos="2203">
          <p15:clr>
            <a:srgbClr val="FBAE40"/>
          </p15:clr>
        </p15:guide>
        <p15:guide id="3" orient="horz" pos="1051">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400" b="0" i="0" u="none" kern="1200" spc="-147"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95269707"/>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19049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06837035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431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492443"/>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6496676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2772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46996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9731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62800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390" y="457200"/>
            <a:ext cx="11018520" cy="5539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3997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0"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0" y="289306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0"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0"/>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2888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551194"/>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0497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930977"/>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8" y="4628562"/>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6" y="4628562"/>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23117297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3176834"/>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5531637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5"/>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8"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5" y="3960713"/>
            <a:ext cx="2468880" cy="1815882"/>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89693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3"/>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7" y="2936557"/>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17411987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31215152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34041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50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5505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84942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884431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97554216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6471391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78413789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70709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93530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46084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1938679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796242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4714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092228-98FB-4B79-86CD-EB9BF7C81EE3}"/>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620685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27560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49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496448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279258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6"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6"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5515169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29480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040414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31837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084187"/>
            <a:ext cx="7171337" cy="1793090"/>
          </a:xfrm>
          <a:noFill/>
        </p:spPr>
        <p:txBody>
          <a:bodyPr lIns="0" tIns="91440" rIns="146304" bIns="91440" anchor="b" anchorCtr="0"/>
          <a:lstStyle>
            <a:lvl1pPr marL="0" indent="0">
              <a:defRPr sz="4800"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33389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6896696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Square Photo">
    <p:bg>
      <p:bgPr>
        <a:solidFill>
          <a:schemeClr val="bg1"/>
        </a:solidFill>
        <a:effectLst/>
      </p:bgPr>
    </p:bg>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487315"/>
            <a:ext cx="3768898" cy="646331"/>
          </a:xfrm>
          <a:prstGeom prst="rect">
            <a:avLst/>
          </a:prstGeom>
        </p:spPr>
        <p:txBody>
          <a:bodyPr wrap="square" rIns="0" anchor="b">
            <a:spAutoFit/>
          </a:bodyPr>
          <a:lstStyle>
            <a:lvl1pPr algn="l">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32" name="Group 31">
            <a:extLst>
              <a:ext uri="{FF2B5EF4-FFF2-40B4-BE49-F238E27FC236}">
                <a16:creationId xmlns:a16="http://schemas.microsoft.com/office/drawing/2014/main" id="{A554CF85-0841-41F0-B6F4-0311F20100EA}"/>
              </a:ext>
            </a:extLst>
          </p:cNvPr>
          <p:cNvGrpSpPr/>
          <p:nvPr userDrawn="1"/>
        </p:nvGrpSpPr>
        <p:grpSpPr bwMode="ltGray">
          <a:xfrm>
            <a:off x="6256117" y="-21839"/>
            <a:ext cx="5932086" cy="6890047"/>
            <a:chOff x="6256117" y="-21839"/>
            <a:chExt cx="5932086" cy="6890047"/>
          </a:xfrm>
        </p:grpSpPr>
        <p:grpSp>
          <p:nvGrpSpPr>
            <p:cNvPr id="33" name="Group 32">
              <a:extLst>
                <a:ext uri="{FF2B5EF4-FFF2-40B4-BE49-F238E27FC236}">
                  <a16:creationId xmlns:a16="http://schemas.microsoft.com/office/drawing/2014/main" id="{B5540783-DD16-4D96-AA93-69C82B10176D}"/>
                </a:ext>
              </a:extLst>
            </p:cNvPr>
            <p:cNvGrpSpPr/>
            <p:nvPr userDrawn="1"/>
          </p:nvGrpSpPr>
          <p:grpSpPr bwMode="ltGray">
            <a:xfrm>
              <a:off x="8507413" y="1457714"/>
              <a:ext cx="3680790" cy="5392441"/>
              <a:chOff x="8507413" y="1457714"/>
              <a:chExt cx="3680790" cy="5392441"/>
            </a:xfrm>
          </p:grpSpPr>
          <p:sp>
            <p:nvSpPr>
              <p:cNvPr id="42" name="Freeform: Shape 41">
                <a:extLst>
                  <a:ext uri="{FF2B5EF4-FFF2-40B4-BE49-F238E27FC236}">
                    <a16:creationId xmlns:a16="http://schemas.microsoft.com/office/drawing/2014/main" id="{F2A407C1-52D9-4CF5-BF32-AE2FE676BF4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560C4BEC-4A19-4CF9-97D0-D451B1DAEB0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8B4B4966-D68F-49EC-BA64-0F5A479970B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73139EB2-111E-407D-B9A9-97FA3E63CFD2}"/>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98979ED9-7308-4771-8393-0ACF0477FC16}"/>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8BE909CD-A873-41C8-A103-5AA41A047A5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3D17C884-0758-4C47-8451-B03F3BE5F6D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393E4E8D-30D0-4059-AC6A-9F09AC8FBF7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FF49A554-CD2F-468E-A1B6-01021E0ACD2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F4E80323-5CEA-4E7C-AF42-7EEA0CA6308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7A9F02A4-DAB7-42AD-9E4E-B12D2D14DDE6}"/>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E9BAC11-3CCA-42FC-8747-93F623629B7C}"/>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C96E6BE9-F00F-4C4A-AA5C-A5C2862DD22A}"/>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4AF527ED-9CE1-49AB-9357-3F4A1748FF3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7CB19142-4655-4FA7-B2BC-98628DA2B9D8}"/>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4" name="Freeform: Shape 83">
                <a:extLst>
                  <a:ext uri="{FF2B5EF4-FFF2-40B4-BE49-F238E27FC236}">
                    <a16:creationId xmlns:a16="http://schemas.microsoft.com/office/drawing/2014/main" id="{3C8368D7-97C0-4086-AD9D-25372CE7829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5" name="Straight Connector 84">
                <a:extLst>
                  <a:ext uri="{FF2B5EF4-FFF2-40B4-BE49-F238E27FC236}">
                    <a16:creationId xmlns:a16="http://schemas.microsoft.com/office/drawing/2014/main" id="{53C9D79A-F7EC-4BA2-9D6B-2B6A7B833631}"/>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C0F2279D-F32A-43A7-94B7-116995B5DB33}"/>
                </a:ext>
              </a:extLst>
            </p:cNvPr>
            <p:cNvGrpSpPr/>
            <p:nvPr userDrawn="1"/>
          </p:nvGrpSpPr>
          <p:grpSpPr bwMode="ltGray">
            <a:xfrm>
              <a:off x="7545167" y="-21839"/>
              <a:ext cx="1192433" cy="1098538"/>
              <a:chOff x="7545167" y="-9139"/>
              <a:chExt cx="1192433" cy="1098538"/>
            </a:xfrm>
          </p:grpSpPr>
          <p:sp>
            <p:nvSpPr>
              <p:cNvPr id="39" name="Freeform: Shape 38">
                <a:extLst>
                  <a:ext uri="{FF2B5EF4-FFF2-40B4-BE49-F238E27FC236}">
                    <a16:creationId xmlns:a16="http://schemas.microsoft.com/office/drawing/2014/main" id="{AEA1516F-F31B-4C8D-AD9D-A305272E8BB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0" name="Freeform: Shape 39">
                <a:extLst>
                  <a:ext uri="{FF2B5EF4-FFF2-40B4-BE49-F238E27FC236}">
                    <a16:creationId xmlns:a16="http://schemas.microsoft.com/office/drawing/2014/main" id="{BD91CD73-D1A2-4BAA-A3F6-19F693FA6BE8}"/>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1" name="Freeform: Shape 40">
                <a:extLst>
                  <a:ext uri="{FF2B5EF4-FFF2-40B4-BE49-F238E27FC236}">
                    <a16:creationId xmlns:a16="http://schemas.microsoft.com/office/drawing/2014/main" id="{DA2BFF44-891E-471C-8E48-6AF8EE78EB8E}"/>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CEB6AEF0-C1CD-46DD-B472-2E0A7DF0E5E3}"/>
                </a:ext>
              </a:extLst>
            </p:cNvPr>
            <p:cNvGrpSpPr/>
            <p:nvPr userDrawn="1"/>
          </p:nvGrpSpPr>
          <p:grpSpPr bwMode="ltGray">
            <a:xfrm>
              <a:off x="6256117" y="5896894"/>
              <a:ext cx="1057910" cy="971314"/>
              <a:chOff x="6256117" y="5896894"/>
              <a:chExt cx="1057910" cy="971314"/>
            </a:xfrm>
          </p:grpSpPr>
          <p:sp>
            <p:nvSpPr>
              <p:cNvPr id="36" name="Freeform: Shape 35">
                <a:extLst>
                  <a:ext uri="{FF2B5EF4-FFF2-40B4-BE49-F238E27FC236}">
                    <a16:creationId xmlns:a16="http://schemas.microsoft.com/office/drawing/2014/main" id="{0523A98A-D4A8-433E-B032-C0E273B5B528}"/>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7" name="Freeform: Shape 36">
                <a:extLst>
                  <a:ext uri="{FF2B5EF4-FFF2-40B4-BE49-F238E27FC236}">
                    <a16:creationId xmlns:a16="http://schemas.microsoft.com/office/drawing/2014/main" id="{7443288C-78B4-43F6-8626-D74D92E3BE8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8" name="Freeform: Shape 37">
                <a:extLst>
                  <a:ext uri="{FF2B5EF4-FFF2-40B4-BE49-F238E27FC236}">
                    <a16:creationId xmlns:a16="http://schemas.microsoft.com/office/drawing/2014/main" id="{2A1B9AAE-6C51-4C02-9D9F-D96CB7F773CB}"/>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5172573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11526500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3"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3722600865"/>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Techielass</a:t>
            </a:r>
          </a:p>
        </p:txBody>
      </p:sp>
    </p:spTree>
    <p:extLst>
      <p:ext uri="{BB962C8B-B14F-4D97-AF65-F5344CB8AC3E}">
        <p14:creationId xmlns:p14="http://schemas.microsoft.com/office/powerpoint/2010/main" val="563925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15554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431856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2732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89" y="4173845"/>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8"/>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0" y="2614893"/>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75"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4" y="292099"/>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51980" y="-306260"/>
            <a:ext cx="1916743" cy="270843"/>
          </a:xfrm>
          <a:prstGeom prst="rect">
            <a:avLst/>
          </a:prstGeom>
          <a:solidFill>
            <a:schemeClr val="accent3"/>
          </a:solidFill>
        </p:spPr>
        <p:txBody>
          <a:bodyPr wrap="none" lIns="45720" tIns="27432" rIns="45720"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2"/>
            <a:ext cx="1999609" cy="25244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2983676246"/>
      </p:ext>
    </p:extLst>
  </p:cSld>
  <p:clrMapOvr>
    <a:masterClrMapping/>
  </p:clrMapOvr>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2342672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3470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9602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prstGeom prst="rect">
            <a:avLst/>
          </a:prstGeo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6" name="Group 5">
            <a:extLst>
              <a:ext uri="{FF2B5EF4-FFF2-40B4-BE49-F238E27FC236}">
                <a16:creationId xmlns:a16="http://schemas.microsoft.com/office/drawing/2014/main" id="{44054ABD-D362-4EBB-AB27-E27002A8E6D3}"/>
              </a:ext>
            </a:extLst>
          </p:cNvPr>
          <p:cNvGrpSpPr/>
          <p:nvPr userDrawn="1"/>
        </p:nvGrpSpPr>
        <p:grpSpPr bwMode="ltGray">
          <a:xfrm>
            <a:off x="6256117" y="-21839"/>
            <a:ext cx="5932086" cy="6890047"/>
            <a:chOff x="6256117" y="-21839"/>
            <a:chExt cx="5932086" cy="6890047"/>
          </a:xfrm>
        </p:grpSpPr>
        <p:grpSp>
          <p:nvGrpSpPr>
            <p:cNvPr id="7" name="Group 6">
              <a:extLst>
                <a:ext uri="{FF2B5EF4-FFF2-40B4-BE49-F238E27FC236}">
                  <a16:creationId xmlns:a16="http://schemas.microsoft.com/office/drawing/2014/main" id="{6600A9ED-8756-4110-8FA3-03FB1631F436}"/>
                </a:ext>
              </a:extLst>
            </p:cNvPr>
            <p:cNvGrpSpPr/>
            <p:nvPr userDrawn="1"/>
          </p:nvGrpSpPr>
          <p:grpSpPr bwMode="ltGray">
            <a:xfrm>
              <a:off x="8507413" y="1457714"/>
              <a:ext cx="3680790" cy="5392441"/>
              <a:chOff x="8507413" y="1457714"/>
              <a:chExt cx="3680790" cy="5392441"/>
            </a:xfrm>
          </p:grpSpPr>
          <p:sp>
            <p:nvSpPr>
              <p:cNvPr id="16" name="Freeform: Shape 15">
                <a:extLst>
                  <a:ext uri="{FF2B5EF4-FFF2-40B4-BE49-F238E27FC236}">
                    <a16:creationId xmlns:a16="http://schemas.microsoft.com/office/drawing/2014/main" id="{20868475-FB70-4BC0-94B4-AB9513299C8D}"/>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6AAE2447-DA95-4F6C-9BF7-9DB1523BF344}"/>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F1386575-9A5B-4B67-BC65-7452636ABF0F}"/>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14EC7872-728B-46A1-892D-7BE01869468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A80318B3-F3BC-446C-9FD7-281A12E1514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2015DA15-78F2-4760-947B-4EAD1CF954DD}"/>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576E50B4-64C6-457F-90C6-6366B9979359}"/>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3372F1FA-99B7-4477-BB8C-65CFB141DC0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BFACF139-F33E-4045-A218-64548E76A967}"/>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B297C85B-8139-4CD0-AE7C-04E1E2DE07C0}"/>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4931FBDD-863C-4063-9F90-138F007F1D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A346AEC1-22F3-4207-8008-9303A0CA7896}"/>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03822AC4-FAFF-406C-9480-50243064F2D1}"/>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9" name="Freeform: Shape 28">
                <a:extLst>
                  <a:ext uri="{FF2B5EF4-FFF2-40B4-BE49-F238E27FC236}">
                    <a16:creationId xmlns:a16="http://schemas.microsoft.com/office/drawing/2014/main" id="{A6CF26DA-D3CA-495D-BB4F-83BFAA6794BD}"/>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0" name="Freeform: Shape 29">
                <a:extLst>
                  <a:ext uri="{FF2B5EF4-FFF2-40B4-BE49-F238E27FC236}">
                    <a16:creationId xmlns:a16="http://schemas.microsoft.com/office/drawing/2014/main" id="{A6CC74ED-13FF-417A-9255-59D6293B1F93}"/>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B796A4A5-6416-41E9-96A6-E7D89FD1E6A5}"/>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32" name="Straight Connector 31">
                <a:extLst>
                  <a:ext uri="{FF2B5EF4-FFF2-40B4-BE49-F238E27FC236}">
                    <a16:creationId xmlns:a16="http://schemas.microsoft.com/office/drawing/2014/main" id="{98DE6B32-31A4-42B4-9E3E-6657AF8B407A}"/>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 name="Group 7">
              <a:extLst>
                <a:ext uri="{FF2B5EF4-FFF2-40B4-BE49-F238E27FC236}">
                  <a16:creationId xmlns:a16="http://schemas.microsoft.com/office/drawing/2014/main" id="{868982D5-04B9-4CFB-B66D-93AB6F2D06D0}"/>
                </a:ext>
              </a:extLst>
            </p:cNvPr>
            <p:cNvGrpSpPr/>
            <p:nvPr userDrawn="1"/>
          </p:nvGrpSpPr>
          <p:grpSpPr bwMode="ltGray">
            <a:xfrm>
              <a:off x="7545167" y="-21839"/>
              <a:ext cx="1192433" cy="1098538"/>
              <a:chOff x="7545167" y="-9139"/>
              <a:chExt cx="1192433" cy="1098538"/>
            </a:xfrm>
          </p:grpSpPr>
          <p:sp>
            <p:nvSpPr>
              <p:cNvPr id="13" name="Freeform: Shape 12">
                <a:extLst>
                  <a:ext uri="{FF2B5EF4-FFF2-40B4-BE49-F238E27FC236}">
                    <a16:creationId xmlns:a16="http://schemas.microsoft.com/office/drawing/2014/main" id="{092E2847-2E9E-48E8-A322-8BC1CED0FE54}"/>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4" name="Freeform: Shape 13">
                <a:extLst>
                  <a:ext uri="{FF2B5EF4-FFF2-40B4-BE49-F238E27FC236}">
                    <a16:creationId xmlns:a16="http://schemas.microsoft.com/office/drawing/2014/main" id="{31AE288B-9CE3-4B40-9184-898829BF351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5" name="Freeform: Shape 14">
                <a:extLst>
                  <a:ext uri="{FF2B5EF4-FFF2-40B4-BE49-F238E27FC236}">
                    <a16:creationId xmlns:a16="http://schemas.microsoft.com/office/drawing/2014/main" id="{46122996-0CDA-4C0D-BE92-8E006C347E0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9" name="Group 8">
              <a:extLst>
                <a:ext uri="{FF2B5EF4-FFF2-40B4-BE49-F238E27FC236}">
                  <a16:creationId xmlns:a16="http://schemas.microsoft.com/office/drawing/2014/main" id="{35256D3F-C33F-42E3-A8FD-920AB23FF012}"/>
                </a:ext>
              </a:extLst>
            </p:cNvPr>
            <p:cNvGrpSpPr/>
            <p:nvPr userDrawn="1"/>
          </p:nvGrpSpPr>
          <p:grpSpPr bwMode="ltGray">
            <a:xfrm>
              <a:off x="6256117" y="5896894"/>
              <a:ext cx="1057910" cy="971314"/>
              <a:chOff x="6256117" y="5896894"/>
              <a:chExt cx="1057910" cy="971314"/>
            </a:xfrm>
          </p:grpSpPr>
          <p:sp>
            <p:nvSpPr>
              <p:cNvPr id="10" name="Freeform: Shape 9">
                <a:extLst>
                  <a:ext uri="{FF2B5EF4-FFF2-40B4-BE49-F238E27FC236}">
                    <a16:creationId xmlns:a16="http://schemas.microsoft.com/office/drawing/2014/main" id="{F180C959-5044-456F-BD42-00A99C8CD80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1" name="Freeform: Shape 10">
                <a:extLst>
                  <a:ext uri="{FF2B5EF4-FFF2-40B4-BE49-F238E27FC236}">
                    <a16:creationId xmlns:a16="http://schemas.microsoft.com/office/drawing/2014/main" id="{94C2BD03-9D07-4647-A0BA-E4769A5D39D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2" name="Freeform: Shape 11">
                <a:extLst>
                  <a:ext uri="{FF2B5EF4-FFF2-40B4-BE49-F238E27FC236}">
                    <a16:creationId xmlns:a16="http://schemas.microsoft.com/office/drawing/2014/main" id="{422D8C56-6018-4C71-B826-B239838DE38A}"/>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3" name="TextBox 2">
            <a:extLst>
              <a:ext uri="{FF2B5EF4-FFF2-40B4-BE49-F238E27FC236}">
                <a16:creationId xmlns:a16="http://schemas.microsoft.com/office/drawing/2014/main" id="{1725D44F-44FC-475C-98F6-37CFCCF9B1A5}"/>
              </a:ext>
            </a:extLst>
          </p:cNvPr>
          <p:cNvSpPr txBox="1"/>
          <p:nvPr/>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2800251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658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33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89803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82090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2571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089119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3234663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4670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135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86708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slideLayout" Target="../slideLayouts/slideLayout263.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42" Type="http://schemas.openxmlformats.org/officeDocument/2006/relationships/image" Target="../media/image23.png"/><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slideLayout" Target="../slideLayouts/slideLayout262.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41" Type="http://schemas.openxmlformats.org/officeDocument/2006/relationships/theme" Target="../theme/theme10.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40" Type="http://schemas.openxmlformats.org/officeDocument/2006/relationships/slideLayout" Target="../slideLayouts/slideLayout264.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43" Type="http://schemas.openxmlformats.org/officeDocument/2006/relationships/image" Target="../media/image24.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9" Type="http://schemas.openxmlformats.org/officeDocument/2006/relationships/slideLayout" Target="../slideLayouts/slideLayout303.xml"/><Relationship Id="rId3" Type="http://schemas.openxmlformats.org/officeDocument/2006/relationships/slideLayout" Target="../slideLayouts/slideLayout267.xml"/><Relationship Id="rId21" Type="http://schemas.openxmlformats.org/officeDocument/2006/relationships/slideLayout" Target="../slideLayouts/slideLayout285.xml"/><Relationship Id="rId34" Type="http://schemas.openxmlformats.org/officeDocument/2006/relationships/slideLayout" Target="../slideLayouts/slideLayout298.xml"/><Relationship Id="rId42" Type="http://schemas.openxmlformats.org/officeDocument/2006/relationships/slideLayout" Target="../slideLayouts/slideLayout306.xml"/><Relationship Id="rId47" Type="http://schemas.openxmlformats.org/officeDocument/2006/relationships/slideLayout" Target="../slideLayouts/slideLayout311.xml"/><Relationship Id="rId50" Type="http://schemas.openxmlformats.org/officeDocument/2006/relationships/slideLayout" Target="../slideLayouts/slideLayout314.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33" Type="http://schemas.openxmlformats.org/officeDocument/2006/relationships/slideLayout" Target="../slideLayouts/slideLayout297.xml"/><Relationship Id="rId38" Type="http://schemas.openxmlformats.org/officeDocument/2006/relationships/slideLayout" Target="../slideLayouts/slideLayout302.xml"/><Relationship Id="rId46" Type="http://schemas.openxmlformats.org/officeDocument/2006/relationships/slideLayout" Target="../slideLayouts/slideLayout310.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29" Type="http://schemas.openxmlformats.org/officeDocument/2006/relationships/slideLayout" Target="../slideLayouts/slideLayout293.xml"/><Relationship Id="rId41" Type="http://schemas.openxmlformats.org/officeDocument/2006/relationships/slideLayout" Target="../slideLayouts/slideLayout305.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slideLayout" Target="../slideLayouts/slideLayout296.xml"/><Relationship Id="rId37" Type="http://schemas.openxmlformats.org/officeDocument/2006/relationships/slideLayout" Target="../slideLayouts/slideLayout301.xml"/><Relationship Id="rId40" Type="http://schemas.openxmlformats.org/officeDocument/2006/relationships/slideLayout" Target="../slideLayouts/slideLayout304.xml"/><Relationship Id="rId45" Type="http://schemas.openxmlformats.org/officeDocument/2006/relationships/slideLayout" Target="../slideLayouts/slideLayout309.xml"/><Relationship Id="rId53" Type="http://schemas.openxmlformats.org/officeDocument/2006/relationships/image" Target="../media/image1.emf"/><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36" Type="http://schemas.openxmlformats.org/officeDocument/2006/relationships/slideLayout" Target="../slideLayouts/slideLayout300.xml"/><Relationship Id="rId49" Type="http://schemas.openxmlformats.org/officeDocument/2006/relationships/slideLayout" Target="../slideLayouts/slideLayout313.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4" Type="http://schemas.openxmlformats.org/officeDocument/2006/relationships/slideLayout" Target="../slideLayouts/slideLayout308.xml"/><Relationship Id="rId52" Type="http://schemas.openxmlformats.org/officeDocument/2006/relationships/theme" Target="../theme/theme11.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 Id="rId35" Type="http://schemas.openxmlformats.org/officeDocument/2006/relationships/slideLayout" Target="../slideLayouts/slideLayout299.xml"/><Relationship Id="rId43" Type="http://schemas.openxmlformats.org/officeDocument/2006/relationships/slideLayout" Target="../slideLayouts/slideLayout307.xml"/><Relationship Id="rId48" Type="http://schemas.openxmlformats.org/officeDocument/2006/relationships/slideLayout" Target="../slideLayouts/slideLayout312.xml"/><Relationship Id="rId8" Type="http://schemas.openxmlformats.org/officeDocument/2006/relationships/slideLayout" Target="../slideLayouts/slideLayout272.xml"/><Relationship Id="rId51" Type="http://schemas.openxmlformats.org/officeDocument/2006/relationships/slideLayout" Target="../slideLayouts/slideLayout31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theme" Target="../theme/theme1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29" Type="http://schemas.openxmlformats.org/officeDocument/2006/relationships/slideLayout" Target="../slideLayouts/slideLayout344.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slideLayout" Target="../slideLayouts/slideLayout365.xml"/><Relationship Id="rId3" Type="http://schemas.openxmlformats.org/officeDocument/2006/relationships/slideLayout" Target="../slideLayouts/slideLayout350.xml"/><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slideLayout" Target="../slideLayouts/slideLayout364.xml"/><Relationship Id="rId2" Type="http://schemas.openxmlformats.org/officeDocument/2006/relationships/slideLayout" Target="../slideLayouts/slideLayout349.xml"/><Relationship Id="rId16" Type="http://schemas.openxmlformats.org/officeDocument/2006/relationships/slideLayout" Target="../slideLayouts/slideLayout363.xml"/><Relationship Id="rId20" Type="http://schemas.openxmlformats.org/officeDocument/2006/relationships/theme" Target="../theme/theme13.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slideLayout" Target="../slideLayouts/slideLayout362.xml"/><Relationship Id="rId10" Type="http://schemas.openxmlformats.org/officeDocument/2006/relationships/slideLayout" Target="../slideLayouts/slideLayout357.xml"/><Relationship Id="rId19" Type="http://schemas.openxmlformats.org/officeDocument/2006/relationships/slideLayout" Target="../slideLayouts/slideLayout366.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4.xml"/><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26" Type="http://schemas.openxmlformats.org/officeDocument/2006/relationships/slideLayout" Target="../slideLayouts/slideLayout392.xml"/><Relationship Id="rId39" Type="http://schemas.openxmlformats.org/officeDocument/2006/relationships/slideLayout" Target="../slideLayouts/slideLayout405.xml"/><Relationship Id="rId3" Type="http://schemas.openxmlformats.org/officeDocument/2006/relationships/slideLayout" Target="../slideLayouts/slideLayout369.xml"/><Relationship Id="rId21" Type="http://schemas.openxmlformats.org/officeDocument/2006/relationships/slideLayout" Target="../slideLayouts/slideLayout387.xml"/><Relationship Id="rId34" Type="http://schemas.openxmlformats.org/officeDocument/2006/relationships/slideLayout" Target="../slideLayouts/slideLayout400.xml"/><Relationship Id="rId42" Type="http://schemas.openxmlformats.org/officeDocument/2006/relationships/image" Target="../media/image1.emf"/><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slideLayout" Target="../slideLayouts/slideLayout391.xml"/><Relationship Id="rId33" Type="http://schemas.openxmlformats.org/officeDocument/2006/relationships/slideLayout" Target="../slideLayouts/slideLayout399.xml"/><Relationship Id="rId38" Type="http://schemas.openxmlformats.org/officeDocument/2006/relationships/slideLayout" Target="../slideLayouts/slideLayout404.xml"/><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29" Type="http://schemas.openxmlformats.org/officeDocument/2006/relationships/slideLayout" Target="../slideLayouts/slideLayout395.xml"/><Relationship Id="rId41" Type="http://schemas.openxmlformats.org/officeDocument/2006/relationships/theme" Target="../theme/theme14.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slideLayout" Target="../slideLayouts/slideLayout390.xml"/><Relationship Id="rId32" Type="http://schemas.openxmlformats.org/officeDocument/2006/relationships/slideLayout" Target="../slideLayouts/slideLayout398.xml"/><Relationship Id="rId37" Type="http://schemas.openxmlformats.org/officeDocument/2006/relationships/slideLayout" Target="../slideLayouts/slideLayout403.xml"/><Relationship Id="rId40" Type="http://schemas.openxmlformats.org/officeDocument/2006/relationships/slideLayout" Target="../slideLayouts/slideLayout406.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28" Type="http://schemas.openxmlformats.org/officeDocument/2006/relationships/slideLayout" Target="../slideLayouts/slideLayout394.xml"/><Relationship Id="rId36" Type="http://schemas.openxmlformats.org/officeDocument/2006/relationships/slideLayout" Target="../slideLayouts/slideLayout402.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31" Type="http://schemas.openxmlformats.org/officeDocument/2006/relationships/slideLayout" Target="../slideLayouts/slideLayout397.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 Id="rId27" Type="http://schemas.openxmlformats.org/officeDocument/2006/relationships/slideLayout" Target="../slideLayouts/slideLayout393.xml"/><Relationship Id="rId30" Type="http://schemas.openxmlformats.org/officeDocument/2006/relationships/slideLayout" Target="../slideLayouts/slideLayout396.xml"/><Relationship Id="rId35" Type="http://schemas.openxmlformats.org/officeDocument/2006/relationships/slideLayout" Target="../slideLayouts/slideLayout40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3" Type="http://schemas.openxmlformats.org/officeDocument/2006/relationships/slideLayout" Target="../slideLayouts/slideLayout409.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0" Type="http://schemas.openxmlformats.org/officeDocument/2006/relationships/slideLayout" Target="../slideLayouts/slideLayout426.xml"/><Relationship Id="rId29" Type="http://schemas.openxmlformats.org/officeDocument/2006/relationships/slideLayout" Target="../slideLayouts/slideLayout435.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theme" Target="../theme/theme15.xml"/><Relationship Id="rId5" Type="http://schemas.openxmlformats.org/officeDocument/2006/relationships/slideLayout" Target="../slideLayouts/slideLayout411.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31" Type="http://schemas.openxmlformats.org/officeDocument/2006/relationships/slideLayout" Target="../slideLayouts/slideLayout437.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50" Type="http://schemas.openxmlformats.org/officeDocument/2006/relationships/theme" Target="../theme/theme5.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slideLayout" Target="../slideLayouts/slideLayout78.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8" Type="http://schemas.openxmlformats.org/officeDocument/2006/relationships/slideLayout" Target="../slideLayouts/slideLayout45.xml"/><Relationship Id="rId51"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image" Target="../media/image1.emf"/><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theme" Target="../theme/theme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image" Target="../media/image1.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slideLayout" Target="../slideLayouts/slideLayout14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theme" Target="../theme/theme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8" Type="http://schemas.openxmlformats.org/officeDocument/2006/relationships/slideLayout" Target="../slideLayouts/slideLayout1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image" Target="../media/image1.emf"/><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theme" Target="../theme/theme8.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9" Type="http://schemas.openxmlformats.org/officeDocument/2006/relationships/image" Target="../media/image24.emf"/><Relationship Id="rId3" Type="http://schemas.openxmlformats.org/officeDocument/2006/relationships/slideLayout" Target="../slideLayouts/slideLayout191.xml"/><Relationship Id="rId21" Type="http://schemas.openxmlformats.org/officeDocument/2006/relationships/slideLayout" Target="../slideLayouts/slideLayout209.xml"/><Relationship Id="rId34" Type="http://schemas.openxmlformats.org/officeDocument/2006/relationships/slideLayout" Target="../slideLayouts/slideLayout222.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33" Type="http://schemas.openxmlformats.org/officeDocument/2006/relationships/slideLayout" Target="../slideLayouts/slideLayout221.xml"/><Relationship Id="rId38" Type="http://schemas.openxmlformats.org/officeDocument/2006/relationships/image" Target="../media/image23.png"/><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slideLayout" Target="../slideLayouts/slideLayout220.xml"/><Relationship Id="rId37" Type="http://schemas.openxmlformats.org/officeDocument/2006/relationships/theme" Target="../theme/theme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36" Type="http://schemas.openxmlformats.org/officeDocument/2006/relationships/slideLayout" Target="../slideLayouts/slideLayout224.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slideLayout" Target="../slideLayouts/slideLayout21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 Id="rId35"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683" r:id="rId1"/>
  </p:sldLayoutIdLst>
  <p:transition>
    <p:fade/>
  </p:transition>
  <p:hf sldNum="0" hd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2"/>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24082120"/>
      </p:ext>
    </p:extLst>
  </p:cSld>
  <p:clrMap bg1="lt1" tx1="dk1" bg2="lt2" tx2="dk2" accent1="accent1" accent2="accent2" accent3="accent3" accent4="accent4" accent5="accent5" accent6="accent6" hlink="hlink" folHlink="folHlink"/>
  <p:sldLayoutIdLst>
    <p:sldLayoutId id="2147486327" r:id="rId1"/>
    <p:sldLayoutId id="2147486328" r:id="rId2"/>
    <p:sldLayoutId id="2147486329" r:id="rId3"/>
    <p:sldLayoutId id="2147486330" r:id="rId4"/>
    <p:sldLayoutId id="2147486331" r:id="rId5"/>
    <p:sldLayoutId id="2147486332" r:id="rId6"/>
    <p:sldLayoutId id="2147486333" r:id="rId7"/>
    <p:sldLayoutId id="2147486334" r:id="rId8"/>
    <p:sldLayoutId id="2147486335" r:id="rId9"/>
    <p:sldLayoutId id="2147486336" r:id="rId10"/>
    <p:sldLayoutId id="2147486337" r:id="rId11"/>
    <p:sldLayoutId id="2147486338" r:id="rId12"/>
    <p:sldLayoutId id="2147486339" r:id="rId13"/>
    <p:sldLayoutId id="2147486340" r:id="rId14"/>
    <p:sldLayoutId id="2147486341" r:id="rId15"/>
    <p:sldLayoutId id="2147486342" r:id="rId16"/>
    <p:sldLayoutId id="2147486343" r:id="rId17"/>
    <p:sldLayoutId id="2147486344" r:id="rId18"/>
    <p:sldLayoutId id="2147486345" r:id="rId19"/>
    <p:sldLayoutId id="2147486346" r:id="rId20"/>
    <p:sldLayoutId id="2147486347" r:id="rId21"/>
    <p:sldLayoutId id="2147486348" r:id="rId22"/>
    <p:sldLayoutId id="2147486349" r:id="rId23"/>
    <p:sldLayoutId id="2147486350" r:id="rId24"/>
    <p:sldLayoutId id="2147486351" r:id="rId25"/>
    <p:sldLayoutId id="2147486352" r:id="rId26"/>
    <p:sldLayoutId id="2147486353" r:id="rId27"/>
    <p:sldLayoutId id="2147486354" r:id="rId28"/>
    <p:sldLayoutId id="2147486355" r:id="rId29"/>
    <p:sldLayoutId id="2147486356" r:id="rId30"/>
    <p:sldLayoutId id="2147486357" r:id="rId31"/>
    <p:sldLayoutId id="2147486358" r:id="rId32"/>
    <p:sldLayoutId id="2147486359" r:id="rId33"/>
    <p:sldLayoutId id="2147486360" r:id="rId34"/>
    <p:sldLayoutId id="2147486361" r:id="rId35"/>
    <p:sldLayoutId id="2147486362" r:id="rId36"/>
    <p:sldLayoutId id="2147486363" r:id="rId37"/>
    <p:sldLayoutId id="2147486364" r:id="rId38"/>
    <p:sldLayoutId id="2147486365" r:id="rId39"/>
    <p:sldLayoutId id="2147486366" r:id="rId40"/>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3"/>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3"/>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4398981"/>
      </p:ext>
    </p:extLst>
  </p:cSld>
  <p:clrMap bg1="lt1" tx1="dk1" bg2="lt2" tx2="dk2" accent1="accent1" accent2="accent2" accent3="accent3" accent4="accent4" accent5="accent5" accent6="accent6" hlink="hlink" folHlink="folHlink"/>
  <p:sldLayoutIdLst>
    <p:sldLayoutId id="2147486368" r:id="rId1"/>
    <p:sldLayoutId id="2147486369" r:id="rId2"/>
    <p:sldLayoutId id="2147486370" r:id="rId3"/>
    <p:sldLayoutId id="2147486371" r:id="rId4"/>
    <p:sldLayoutId id="2147486372" r:id="rId5"/>
    <p:sldLayoutId id="2147486373" r:id="rId6"/>
    <p:sldLayoutId id="2147486374" r:id="rId7"/>
    <p:sldLayoutId id="2147486375" r:id="rId8"/>
    <p:sldLayoutId id="2147486376" r:id="rId9"/>
    <p:sldLayoutId id="2147486377" r:id="rId10"/>
    <p:sldLayoutId id="2147486378" r:id="rId11"/>
    <p:sldLayoutId id="2147486379" r:id="rId12"/>
    <p:sldLayoutId id="2147486380" r:id="rId13"/>
    <p:sldLayoutId id="2147486381" r:id="rId14"/>
    <p:sldLayoutId id="2147486382" r:id="rId15"/>
    <p:sldLayoutId id="2147486383" r:id="rId16"/>
    <p:sldLayoutId id="2147486384" r:id="rId17"/>
    <p:sldLayoutId id="2147486385" r:id="rId18"/>
    <p:sldLayoutId id="2147486386" r:id="rId19"/>
    <p:sldLayoutId id="2147486387" r:id="rId20"/>
    <p:sldLayoutId id="2147486388" r:id="rId21"/>
    <p:sldLayoutId id="2147486389" r:id="rId22"/>
    <p:sldLayoutId id="2147486390" r:id="rId23"/>
    <p:sldLayoutId id="2147486391" r:id="rId24"/>
    <p:sldLayoutId id="2147486392" r:id="rId25"/>
    <p:sldLayoutId id="2147486393" r:id="rId26"/>
    <p:sldLayoutId id="2147486394" r:id="rId27"/>
    <p:sldLayoutId id="2147486395" r:id="rId28"/>
    <p:sldLayoutId id="2147486396" r:id="rId29"/>
    <p:sldLayoutId id="2147486397" r:id="rId30"/>
    <p:sldLayoutId id="2147486398" r:id="rId31"/>
    <p:sldLayoutId id="2147486399" r:id="rId32"/>
    <p:sldLayoutId id="2147486400" r:id="rId33"/>
    <p:sldLayoutId id="2147486401" r:id="rId34"/>
    <p:sldLayoutId id="2147486402" r:id="rId35"/>
    <p:sldLayoutId id="2147486403" r:id="rId36"/>
    <p:sldLayoutId id="2147486404" r:id="rId37"/>
    <p:sldLayoutId id="2147486405" r:id="rId38"/>
    <p:sldLayoutId id="2147486406" r:id="rId39"/>
    <p:sldLayoutId id="2147486407" r:id="rId40"/>
    <p:sldLayoutId id="2147486408" r:id="rId41"/>
    <p:sldLayoutId id="2147486409" r:id="rId42"/>
    <p:sldLayoutId id="2147486410" r:id="rId43"/>
    <p:sldLayoutId id="2147486411" r:id="rId44"/>
    <p:sldLayoutId id="2147486412" r:id="rId45"/>
    <p:sldLayoutId id="2147486413" r:id="rId46"/>
    <p:sldLayoutId id="2147486414" r:id="rId47"/>
    <p:sldLayoutId id="2147486415" r:id="rId48"/>
    <p:sldLayoutId id="2147486416" r:id="rId49"/>
    <p:sldLayoutId id="2147486417" r:id="rId50"/>
    <p:sldLayoutId id="2147486418" r:id="rId51"/>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a:solidFill>
                      <a:schemeClr val="bg2"/>
                    </a:solidFill>
                    <a:latin typeface="Segoe UI Semibold" charset="0"/>
                    <a:ea typeface="Segoe UI Semibold" charset="0"/>
                    <a:cs typeface="Segoe UI Semibold" charset="0"/>
                  </a:rPr>
                  <a:t>R66 G66 B66</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424242</a:t>
                </a:r>
                <a:endParaRPr lang="en-US" sz="700" b="1" i="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a:solidFill>
                      <a:schemeClr val="bg2"/>
                    </a:solidFill>
                    <a:latin typeface="Segoe UI Semibold" charset="0"/>
                    <a:ea typeface="Segoe UI Semibold" charset="0"/>
                    <a:cs typeface="Segoe UI Semibold" charset="0"/>
                  </a:rPr>
                  <a:t>R0 G120 B215</a:t>
                </a:r>
                <a:br>
                  <a:rPr lang="en-US" sz="700" b="1" i="0">
                    <a:solidFill>
                      <a:schemeClr val="bg2"/>
                    </a:solidFill>
                    <a:latin typeface="Segoe UI Semibold" charset="0"/>
                    <a:ea typeface="Segoe UI Semibold" charset="0"/>
                    <a:cs typeface="Segoe UI Semibold" charset="0"/>
                  </a:rPr>
                </a:br>
                <a:r>
                  <a:rPr lang="tr-TR" sz="700" b="1" i="0">
                    <a:solidFill>
                      <a:schemeClr val="bg2"/>
                    </a:solidFill>
                    <a:latin typeface="Segoe UI Semibold" charset="0"/>
                    <a:ea typeface="Segoe UI Semibold" charset="0"/>
                    <a:cs typeface="Segoe UI Semibold" charset="0"/>
                  </a:rPr>
                  <a:t>0078D7</a:t>
                </a:r>
                <a:endParaRPr lang="en-US" sz="700" b="1" i="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0 G138 B249</a:t>
                </a:r>
                <a:br>
                  <a:rPr lang="en-US" sz="700" b="1" i="0">
                    <a:solidFill>
                      <a:schemeClr val="bg2"/>
                    </a:solidFill>
                    <a:latin typeface="Segoe UI Semibold" charset="0"/>
                    <a:ea typeface="Segoe UI Semibold" charset="0"/>
                    <a:cs typeface="Segoe UI Semibold" charset="0"/>
                  </a:rPr>
                </a:br>
                <a:r>
                  <a:rPr lang="is-IS" sz="700" b="1" i="0">
                    <a:solidFill>
                      <a:schemeClr val="bg2"/>
                    </a:solidFill>
                    <a:latin typeface="Segoe UI Semibold" charset="0"/>
                    <a:ea typeface="Segoe UI Semibold" charset="0"/>
                    <a:cs typeface="Segoe UI Semibold" charset="0"/>
                  </a:rPr>
                  <a:t>008AF9</a:t>
                </a:r>
                <a:endParaRPr lang="en-US" sz="700" b="1" i="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77 G176 B255</a:t>
                </a:r>
                <a:br>
                  <a:rPr lang="en-US" sz="700" b="1" i="0">
                    <a:solidFill>
                      <a:schemeClr val="tx2"/>
                    </a:solidFill>
                    <a:latin typeface="Segoe UI Semibold" charset="0"/>
                    <a:ea typeface="Segoe UI Semibold" charset="0"/>
                    <a:cs typeface="Segoe UI Semibold" charset="0"/>
                  </a:rPr>
                </a:br>
                <a:r>
                  <a:rPr lang="cs-CZ" sz="700" b="1" i="0">
                    <a:solidFill>
                      <a:schemeClr val="tx2"/>
                    </a:solidFill>
                    <a:latin typeface="Segoe UI Semibold" charset="0"/>
                    <a:ea typeface="Segoe UI Semibold" charset="0"/>
                    <a:cs typeface="Segoe UI Semibold" charset="0"/>
                  </a:rPr>
                  <a:t>4DB0FF</a:t>
                </a:r>
                <a:endParaRPr lang="en-US" sz="700" b="1" i="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148 G208 B255</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a:solidFill>
                    <a:schemeClr val="tx2"/>
                  </a:solidFill>
                  <a:latin typeface="Segoe UI Semibold" charset="0"/>
                  <a:ea typeface="Segoe UI Semibold" charset="0"/>
                  <a:cs typeface="Segoe UI Semibold" charset="0"/>
                </a:rPr>
                <a:t>R177 G214 B242</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R217 G217 B217</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3 G90 B160</a:t>
                </a:r>
                <a:br>
                  <a:rPr lang="en-US" sz="700" b="1" i="0">
                    <a:solidFill>
                      <a:schemeClr val="bg2"/>
                    </a:solidFill>
                    <a:latin typeface="Segoe UI Semibold" charset="0"/>
                    <a:ea typeface="Segoe UI Semibold" charset="0"/>
                    <a:cs typeface="Segoe UI Semibold" charset="0"/>
                  </a:rPr>
                </a:br>
                <a:r>
                  <a:rPr lang="en-US" sz="700" b="1" i="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bg2"/>
                    </a:solidFill>
                    <a:latin typeface="Segoe UI Semibold" charset="0"/>
                    <a:ea typeface="Segoe UI Semibold" charset="0"/>
                    <a:cs typeface="Segoe UI Semibold" charset="0"/>
                  </a:rPr>
                  <a:t>R121 G121 B121</a:t>
                </a:r>
                <a:br>
                  <a:rPr lang="en-US" sz="700" b="1" i="0">
                    <a:solidFill>
                      <a:schemeClr val="bg2"/>
                    </a:solidFill>
                    <a:latin typeface="Segoe UI Semibold" charset="0"/>
                    <a:ea typeface="Segoe UI Semibold" charset="0"/>
                    <a:cs typeface="Segoe UI Semibold" charset="0"/>
                  </a:rPr>
                </a:br>
                <a:r>
                  <a:rPr lang="fi-FI" sz="700" b="1" i="0">
                    <a:solidFill>
                      <a:schemeClr val="bg2"/>
                    </a:solidFill>
                    <a:latin typeface="Segoe UI Semibold" charset="0"/>
                    <a:ea typeface="Segoe UI Semibold" charset="0"/>
                    <a:cs typeface="Segoe UI Semibold" charset="0"/>
                  </a:rPr>
                  <a:t>797979</a:t>
                </a:r>
                <a:endParaRPr lang="en-US" sz="700" b="1" i="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p>
              <a:p>
                <a:pPr>
                  <a:spcBef>
                    <a:spcPts val="0"/>
                  </a:spcBef>
                  <a:spcAft>
                    <a:spcPts val="0"/>
                  </a:spcAft>
                </a:pPr>
                <a:r>
                  <a:rPr lang="en-US" sz="700" b="1" i="0">
                    <a:solidFill>
                      <a:schemeClr val="tx2"/>
                    </a:solidFill>
                    <a:latin typeface="Segoe UI Semibold" charset="0"/>
                    <a:ea typeface="Segoe UI Semibold" charset="0"/>
                    <a:cs typeface="Segoe UI Semibold" charset="0"/>
                  </a:rPr>
                  <a:t>R233 G233 B233</a:t>
                </a:r>
                <a:br>
                  <a:rPr lang="en-US" sz="700" b="1" i="0">
                    <a:solidFill>
                      <a:schemeClr val="tx2"/>
                    </a:solidFill>
                    <a:latin typeface="Segoe UI Semibold" charset="0"/>
                    <a:ea typeface="Segoe UI Semibold" charset="0"/>
                    <a:cs typeface="Segoe UI Semibold" charset="0"/>
                  </a:rPr>
                </a:br>
                <a:r>
                  <a:rPr lang="en-US" sz="700" b="1" i="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2473972570"/>
      </p:ext>
    </p:extLst>
  </p:cSld>
  <p:clrMap bg1="dk1" tx1="lt1" bg2="dk2" tx2="lt2" accent1="accent1" accent2="accent2" accent3="accent3" accent4="accent4" accent5="accent5" accent6="accent6" hlink="hlink" folHlink="folHlink"/>
  <p:sldLayoutIdLst>
    <p:sldLayoutId id="2147486425" r:id="rId1"/>
    <p:sldLayoutId id="2147486426" r:id="rId2"/>
    <p:sldLayoutId id="2147486427" r:id="rId3"/>
    <p:sldLayoutId id="2147486428" r:id="rId4"/>
    <p:sldLayoutId id="2147486429" r:id="rId5"/>
    <p:sldLayoutId id="2147486430" r:id="rId6"/>
    <p:sldLayoutId id="2147486431" r:id="rId7"/>
    <p:sldLayoutId id="2147486432" r:id="rId8"/>
    <p:sldLayoutId id="2147486433" r:id="rId9"/>
    <p:sldLayoutId id="2147486434" r:id="rId10"/>
    <p:sldLayoutId id="2147486435" r:id="rId11"/>
    <p:sldLayoutId id="2147486436" r:id="rId12"/>
    <p:sldLayoutId id="2147486437" r:id="rId13"/>
    <p:sldLayoutId id="2147486438" r:id="rId14"/>
    <p:sldLayoutId id="2147486439" r:id="rId15"/>
    <p:sldLayoutId id="2147486440" r:id="rId16"/>
    <p:sldLayoutId id="2147486441" r:id="rId17"/>
    <p:sldLayoutId id="2147486442" r:id="rId18"/>
    <p:sldLayoutId id="2147486443" r:id="rId19"/>
    <p:sldLayoutId id="2147486444" r:id="rId20"/>
    <p:sldLayoutId id="2147486445" r:id="rId21"/>
    <p:sldLayoutId id="2147486446" r:id="rId22"/>
    <p:sldLayoutId id="2147486447" r:id="rId23"/>
    <p:sldLayoutId id="2147486448" r:id="rId24"/>
    <p:sldLayoutId id="2147486449" r:id="rId25"/>
    <p:sldLayoutId id="2147486450" r:id="rId26"/>
    <p:sldLayoutId id="2147486451" r:id="rId27"/>
    <p:sldLayoutId id="2147486452" r:id="rId28"/>
    <p:sldLayoutId id="2147486453" r:id="rId29"/>
    <p:sldLayoutId id="2147486454" r:id="rId30"/>
    <p:sldLayoutId id="2147486455" r:id="rId31"/>
    <p:sldLayoutId id="2147486456" r:id="rId32"/>
  </p:sldLayoutIdLst>
  <p:hf sldNum="0" hd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4AA5E4-3A42-4ADF-BCF8-61CE89674192}"/>
              </a:ext>
            </a:extLst>
          </p:cNvPr>
          <p:cNvSpPr>
            <a:spLocks noGrp="1"/>
          </p:cNvSpPr>
          <p:nvPr>
            <p:ph type="title"/>
          </p:nvPr>
        </p:nvSpPr>
        <p:spPr>
          <a:xfrm>
            <a:off x="269875" y="288925"/>
            <a:ext cx="11655425" cy="80486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a:extLst>
              <a:ext uri="{FF2B5EF4-FFF2-40B4-BE49-F238E27FC236}">
                <a16:creationId xmlns:a16="http://schemas.microsoft.com/office/drawing/2014/main" id="{620BDDF5-E800-43A2-A27E-B262B15C6F24}"/>
              </a:ext>
            </a:extLst>
          </p:cNvPr>
          <p:cNvSpPr>
            <a:spLocks noGrp="1"/>
          </p:cNvSpPr>
          <p:nvPr>
            <p:ph type="body" idx="1"/>
          </p:nvPr>
        </p:nvSpPr>
        <p:spPr>
          <a:xfrm>
            <a:off x="269875" y="1133475"/>
            <a:ext cx="11652250" cy="1725613"/>
          </a:xfrm>
          <a:prstGeom prst="rect">
            <a:avLst/>
          </a:prstGeom>
        </p:spPr>
        <p:txBody>
          <a:bodyPr vert="horz" wrap="square" lIns="146304"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12">
            <a:extLst>
              <a:ext uri="{FF2B5EF4-FFF2-40B4-BE49-F238E27FC236}">
                <a16:creationId xmlns:a16="http://schemas.microsoft.com/office/drawing/2014/main" id="{F200ACA2-63B5-4AED-AED3-A74E3905B538}"/>
              </a:ext>
            </a:extLst>
          </p:cNvPr>
          <p:cNvGrpSpPr>
            <a:grpSpLocks/>
          </p:cNvGrpSpPr>
          <p:nvPr userDrawn="1"/>
        </p:nvGrpSpPr>
        <p:grpSpPr bwMode="auto">
          <a:xfrm>
            <a:off x="12288838" y="4475163"/>
            <a:ext cx="381000" cy="2382837"/>
            <a:chOff x="12475300" y="2695026"/>
            <a:chExt cx="666090" cy="4164697"/>
          </a:xfrm>
        </p:grpSpPr>
        <p:sp>
          <p:nvSpPr>
            <p:cNvPr id="5" name="Oval 4">
              <a:extLst>
                <a:ext uri="{FF2B5EF4-FFF2-40B4-BE49-F238E27FC236}">
                  <a16:creationId xmlns:a16="http://schemas.microsoft.com/office/drawing/2014/main" id="{335D7860-B250-4017-88AF-AD5C8E75C565}"/>
                </a:ext>
              </a:extLst>
            </p:cNvPr>
            <p:cNvSpPr/>
            <p:nvPr userDrawn="1"/>
          </p:nvSpPr>
          <p:spPr bwMode="auto">
            <a:xfrm flipH="1">
              <a:off x="12475300" y="4443034"/>
              <a:ext cx="666090" cy="668681"/>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Oval 5">
              <a:extLst>
                <a:ext uri="{FF2B5EF4-FFF2-40B4-BE49-F238E27FC236}">
                  <a16:creationId xmlns:a16="http://schemas.microsoft.com/office/drawing/2014/main" id="{CCCA6251-A383-4B06-8AC7-05EDBAE65486}"/>
                </a:ext>
              </a:extLst>
            </p:cNvPr>
            <p:cNvSpPr/>
            <p:nvPr userDrawn="1"/>
          </p:nvSpPr>
          <p:spPr bwMode="auto">
            <a:xfrm flipH="1">
              <a:off x="12475300" y="5319812"/>
              <a:ext cx="666090" cy="665908"/>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Oval 6">
              <a:extLst>
                <a:ext uri="{FF2B5EF4-FFF2-40B4-BE49-F238E27FC236}">
                  <a16:creationId xmlns:a16="http://schemas.microsoft.com/office/drawing/2014/main" id="{71F1CC05-4F32-447A-88AB-746DC28575DB}"/>
                </a:ext>
              </a:extLst>
            </p:cNvPr>
            <p:cNvSpPr/>
            <p:nvPr userDrawn="1"/>
          </p:nvSpPr>
          <p:spPr bwMode="auto">
            <a:xfrm flipH="1">
              <a:off x="12475300" y="6193815"/>
              <a:ext cx="666090" cy="665908"/>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61D6EE89-9DE8-4CAE-BAAE-8930FDA59CF8}"/>
                </a:ext>
              </a:extLst>
            </p:cNvPr>
            <p:cNvSpPr/>
            <p:nvPr userDrawn="1"/>
          </p:nvSpPr>
          <p:spPr bwMode="auto">
            <a:xfrm flipH="1">
              <a:off x="12475300" y="3569029"/>
              <a:ext cx="666090" cy="665908"/>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17242481-CE86-455B-973F-84DD82527082}"/>
                </a:ext>
              </a:extLst>
            </p:cNvPr>
            <p:cNvSpPr/>
            <p:nvPr userDrawn="1"/>
          </p:nvSpPr>
          <p:spPr bwMode="auto">
            <a:xfrm flipH="1">
              <a:off x="12475300" y="2695026"/>
              <a:ext cx="666090" cy="665908"/>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114" eaLnBrk="1" hangingPunct="1">
                <a:lnSpc>
                  <a:spcPct val="90000"/>
                </a:lnSpc>
                <a:defRPr/>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32175003"/>
      </p:ext>
    </p:extLst>
  </p:cSld>
  <p:clrMap bg1="lt1" tx1="dk1" bg2="lt2" tx2="dk2" accent1="accent1" accent2="accent2" accent3="accent3" accent4="accent4" accent5="accent5" accent6="accent6" hlink="hlink" folHlink="folHlink"/>
  <p:sldLayoutIdLst>
    <p:sldLayoutId id="2147486464" r:id="rId1"/>
    <p:sldLayoutId id="2147486465" r:id="rId2"/>
    <p:sldLayoutId id="2147486466" r:id="rId3"/>
    <p:sldLayoutId id="2147486467" r:id="rId4"/>
    <p:sldLayoutId id="2147486468" r:id="rId5"/>
    <p:sldLayoutId id="2147486469" r:id="rId6"/>
    <p:sldLayoutId id="2147486470" r:id="rId7"/>
    <p:sldLayoutId id="2147486471" r:id="rId8"/>
    <p:sldLayoutId id="2147486472" r:id="rId9"/>
    <p:sldLayoutId id="2147486473" r:id="rId10"/>
    <p:sldLayoutId id="2147486474" r:id="rId11"/>
    <p:sldLayoutId id="2147486475" r:id="rId12"/>
    <p:sldLayoutId id="2147486476" r:id="rId13"/>
    <p:sldLayoutId id="2147486477" r:id="rId14"/>
    <p:sldLayoutId id="2147486478" r:id="rId15"/>
    <p:sldLayoutId id="2147486479" r:id="rId16"/>
    <p:sldLayoutId id="2147486480" r:id="rId17"/>
    <p:sldLayoutId id="2147486481" r:id="rId18"/>
    <p:sldLayoutId id="2147486482" r:id="rId19"/>
  </p:sldLayoutIdLst>
  <p:transition>
    <p:fade/>
  </p:transition>
  <p:hf sldNum="0" hdr="0" dt="0"/>
  <p:txStyles>
    <p:titleStyle>
      <a:lvl1pPr algn="l" defTabSz="912813" rtl="0" eaLnBrk="0" fontAlgn="base" hangingPunct="0">
        <a:lnSpc>
          <a:spcPct val="90000"/>
        </a:lnSpc>
        <a:spcBef>
          <a:spcPct val="0"/>
        </a:spcBef>
        <a:spcAft>
          <a:spcPct val="0"/>
        </a:spcAft>
        <a:defRPr lang="en-US" sz="4800" kern="1200" spc="-100" dirty="0">
          <a:ln w="3175">
            <a:noFill/>
          </a:ln>
          <a:solidFill>
            <a:srgbClr val="FFFFFF"/>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p:titleStyle>
    <p:bodyStyle>
      <a:lvl1pPr marL="334963" indent="-334963" algn="l" defTabSz="912813" rtl="0" eaLnBrk="0" fontAlgn="base" hangingPunct="0">
        <a:lnSpc>
          <a:spcPct val="90000"/>
        </a:lnSpc>
        <a:spcBef>
          <a:spcPct val="20000"/>
        </a:spcBef>
        <a:spcAft>
          <a:spcPct val="0"/>
        </a:spcAft>
        <a:buSzPct val="90000"/>
        <a:buFont typeface="Arial" panose="020B0604020202020204" pitchFamily="34" charset="0"/>
        <a:buChar char="•"/>
        <a:defRPr sz="2800" kern="1200">
          <a:solidFill>
            <a:srgbClr val="FFFFFF"/>
          </a:solidFill>
          <a:latin typeface="+mj-lt"/>
          <a:ea typeface="MS PGothic" panose="020B0600070205080204" pitchFamily="34" charset="-128"/>
          <a:cs typeface="MS PGothic" charset="0"/>
        </a:defRPr>
      </a:lvl1pPr>
      <a:lvl2pPr marL="571500" indent="-234950" algn="l" defTabSz="912813" rtl="0" eaLnBrk="0" fontAlgn="base" hangingPunct="0">
        <a:lnSpc>
          <a:spcPct val="90000"/>
        </a:lnSpc>
        <a:spcBef>
          <a:spcPct val="20000"/>
        </a:spcBef>
        <a:spcAft>
          <a:spcPct val="0"/>
        </a:spcAft>
        <a:buSzPct val="90000"/>
        <a:buFont typeface="Arial" panose="020B0604020202020204" pitchFamily="34" charset="0"/>
        <a:buChar char="•"/>
        <a:defRPr sz="2200" kern="1200">
          <a:solidFill>
            <a:srgbClr val="FFFFFF"/>
          </a:solidFill>
          <a:latin typeface="+mj-lt"/>
          <a:ea typeface="MS PGothic" panose="020B0600070205080204" pitchFamily="34" charset="-128"/>
          <a:cs typeface="MS PGothic" charset="0"/>
        </a:defRPr>
      </a:lvl2pPr>
      <a:lvl3pPr marL="782638"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kern="1200">
          <a:solidFill>
            <a:srgbClr val="FFFFFF"/>
          </a:solidFill>
          <a:latin typeface="+mn-lt"/>
          <a:ea typeface="MS PGothic" panose="020B0600070205080204" pitchFamily="34" charset="-128"/>
          <a:cs typeface="MS PGothic" charset="0"/>
        </a:defRPr>
      </a:lvl3pPr>
      <a:lvl4pPr marL="1006475"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4pPr>
      <a:lvl5pPr marL="1230313" indent="-223838" algn="l" defTabSz="912813" rtl="0" eaLnBrk="0" fontAlgn="base" hangingPunct="0">
        <a:lnSpc>
          <a:spcPct val="90000"/>
        </a:lnSpc>
        <a:spcBef>
          <a:spcPct val="20000"/>
        </a:spcBef>
        <a:spcAft>
          <a:spcPct val="0"/>
        </a:spcAft>
        <a:buSzPct val="90000"/>
        <a:buFont typeface="Arial" panose="020B0604020202020204" pitchFamily="34" charset="0"/>
        <a:buChar char="•"/>
        <a:defRPr sz="1600" kern="1200">
          <a:solidFill>
            <a:srgbClr val="FFFFFF"/>
          </a:solidFill>
          <a:latin typeface="+mn-lt"/>
          <a:ea typeface="MS PGothic" panose="020B0600070205080204" pitchFamily="34" charset="-128"/>
          <a:cs typeface="MS PGothic"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p:nvPicPr>
        <p:blipFill>
          <a:blip r:embed="rId42"/>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9" name="Title Placeholder 1">
            <a:extLst>
              <a:ext uri="{FF2B5EF4-FFF2-40B4-BE49-F238E27FC236}">
                <a16:creationId xmlns:a16="http://schemas.microsoft.com/office/drawing/2014/main" id="{1FD6C9C8-0D43-4544-8C46-3B611967EEB3}"/>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90" name="Text Placeholder 3">
            <a:extLst>
              <a:ext uri="{FF2B5EF4-FFF2-40B4-BE49-F238E27FC236}">
                <a16:creationId xmlns:a16="http://schemas.microsoft.com/office/drawing/2014/main" id="{DB8B41FC-5A8F-4199-95B2-A90C64B5243E}"/>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1" name="NEW Brand Colors 2018">
            <a:extLst>
              <a:ext uri="{FF2B5EF4-FFF2-40B4-BE49-F238E27FC236}">
                <a16:creationId xmlns:a16="http://schemas.microsoft.com/office/drawing/2014/main" id="{4D0FA55F-170C-40B6-8618-3E8D59F7EB74}"/>
              </a:ext>
            </a:extLst>
          </p:cNvPr>
          <p:cNvPicPr>
            <a:picLocks noChangeAspect="1"/>
          </p:cNvPicPr>
          <p:nvPr userDrawn="1"/>
        </p:nvPicPr>
        <p:blipFill>
          <a:blip r:embed="rId4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2" name="GRID" hidden="1">
            <a:extLst>
              <a:ext uri="{FF2B5EF4-FFF2-40B4-BE49-F238E27FC236}">
                <a16:creationId xmlns:a16="http://schemas.microsoft.com/office/drawing/2014/main" id="{1DFD5872-1398-4DA3-9C76-7C81A0C943EB}"/>
              </a:ext>
            </a:extLst>
          </p:cNvPr>
          <p:cNvGrpSpPr/>
          <p:nvPr userDrawn="1"/>
        </p:nvGrpSpPr>
        <p:grpSpPr>
          <a:xfrm>
            <a:off x="0" y="0"/>
            <a:ext cx="12192000" cy="6858000"/>
            <a:chOff x="0" y="0"/>
            <a:chExt cx="12192000" cy="6858000"/>
          </a:xfrm>
        </p:grpSpPr>
        <p:cxnSp>
          <p:nvCxnSpPr>
            <p:cNvPr id="93" name="Straight Connector 92">
              <a:extLst>
                <a:ext uri="{FF2B5EF4-FFF2-40B4-BE49-F238E27FC236}">
                  <a16:creationId xmlns:a16="http://schemas.microsoft.com/office/drawing/2014/main" id="{49B1BA48-8EF4-4ECA-BFC6-F7147C3F09D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EEA01C3-22A2-4C58-8B10-7BD8CE45179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D7EEB1B-3894-4B62-ACAB-E5618EF4319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2BECD9-9162-459B-98DB-5FE0ACC2B68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139EB89-B961-4F70-B546-6852973CC09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6C8AC63-5DE5-41BC-9E3E-DED75595E10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C91798-9E9A-4688-AC8B-12486B0C8E88}"/>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2DC2AD9-7547-4CE9-BB44-4748E0E51B6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46B47C2-34CC-4949-81D4-BA0305AEC5A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C85E6CF-CB09-4E3A-A022-4D61EC395E1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E4D7B29-6918-4C9B-99C6-FEDF0CD5F28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7C98B21-DB83-46F1-90F1-841520489E7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7DDDFB-865D-4BFD-AE52-7BAB80B4DFA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839A21-53DD-4A3F-929D-BB832B80D96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260E1F9-4D49-42FF-9773-68C86237EF5E}"/>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28087DE-58E8-4FB1-B17B-1B4800407B9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8B6284E-3BA0-41D4-AA8F-D773390D493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C23985B-12C9-4620-832A-EA9ABEF2D4B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E39FD4C-73B5-48B4-9A2E-07EF9FD8BDA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4426CA7-C1B2-4A88-A5BE-4559D0F457B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41E664-9BE9-482D-8E8E-C4C1580C727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8AAF66-C33D-4257-BFE1-B633E9424BD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D9550D-E9BD-49C3-87A3-3F936D7639C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E8FE344-B8DE-4844-8516-BA1AF7297DE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D0691DD-E965-4314-95B1-799ACF84A96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29FF097-D0F3-45C4-A86C-D0315113A1D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4938CCF-7C06-4C6F-9E88-CA72195B3932}"/>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31DB004-7BB0-4955-B4EC-80E468B24820}"/>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85F189B-02FC-41C6-9A14-1F450024DD6A}"/>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793164C-8DA3-4288-BC99-121218D584F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29177A9-E124-440A-8976-6C0679648E8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405E976-2C5E-45BF-822D-F51FEB1046CC}"/>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EE49FC-FE13-45E3-BA60-0BFF97D5F7F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BAB42E5-7172-4799-9F81-E9782F71A49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7" name=".64 square" hidden="1">
            <a:extLst>
              <a:ext uri="{FF2B5EF4-FFF2-40B4-BE49-F238E27FC236}">
                <a16:creationId xmlns:a16="http://schemas.microsoft.com/office/drawing/2014/main" id="{0AB42F50-C6A4-4D3A-9772-07221177C5C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32 square" hidden="1">
            <a:extLst>
              <a:ext uri="{FF2B5EF4-FFF2-40B4-BE49-F238E27FC236}">
                <a16:creationId xmlns:a16="http://schemas.microsoft.com/office/drawing/2014/main" id="{92D066B3-B1C8-4A72-8826-794309145DC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65626784"/>
      </p:ext>
    </p:extLst>
  </p:cSld>
  <p:clrMap bg1="lt1" tx1="dk1" bg2="lt2" tx2="dk2" accent1="accent1" accent2="accent2" accent3="accent3" accent4="accent4" accent5="accent5" accent6="accent6" hlink="hlink" folHlink="folHlink"/>
  <p:sldLayoutIdLst>
    <p:sldLayoutId id="2147486484" r:id="rId1"/>
    <p:sldLayoutId id="2147486485" r:id="rId2"/>
    <p:sldLayoutId id="2147486486" r:id="rId3"/>
    <p:sldLayoutId id="2147486487" r:id="rId4"/>
    <p:sldLayoutId id="2147486488" r:id="rId5"/>
    <p:sldLayoutId id="2147486489" r:id="rId6"/>
    <p:sldLayoutId id="2147486490" r:id="rId7"/>
    <p:sldLayoutId id="2147486491" r:id="rId8"/>
    <p:sldLayoutId id="2147486492" r:id="rId9"/>
    <p:sldLayoutId id="2147486493" r:id="rId10"/>
    <p:sldLayoutId id="2147486494" r:id="rId11"/>
    <p:sldLayoutId id="2147486495" r:id="rId12"/>
    <p:sldLayoutId id="2147486496" r:id="rId13"/>
    <p:sldLayoutId id="2147486497" r:id="rId14"/>
    <p:sldLayoutId id="2147486498" r:id="rId15"/>
    <p:sldLayoutId id="2147486499" r:id="rId16"/>
    <p:sldLayoutId id="2147486500" r:id="rId17"/>
    <p:sldLayoutId id="2147486501" r:id="rId18"/>
    <p:sldLayoutId id="2147486502" r:id="rId19"/>
    <p:sldLayoutId id="2147486503" r:id="rId20"/>
    <p:sldLayoutId id="2147486504" r:id="rId21"/>
    <p:sldLayoutId id="2147486505" r:id="rId22"/>
    <p:sldLayoutId id="2147486506" r:id="rId23"/>
    <p:sldLayoutId id="2147486507" r:id="rId24"/>
    <p:sldLayoutId id="2147486508" r:id="rId25"/>
    <p:sldLayoutId id="2147486509" r:id="rId26"/>
    <p:sldLayoutId id="2147486511" r:id="rId27"/>
    <p:sldLayoutId id="2147486512" r:id="rId28"/>
    <p:sldLayoutId id="2147486513" r:id="rId29"/>
    <p:sldLayoutId id="2147486514" r:id="rId30"/>
    <p:sldLayoutId id="2147486515" r:id="rId31"/>
    <p:sldLayoutId id="2147486516" r:id="rId32"/>
    <p:sldLayoutId id="2147486517" r:id="rId33"/>
    <p:sldLayoutId id="2147486518" r:id="rId34"/>
    <p:sldLayoutId id="2147486519" r:id="rId35"/>
    <p:sldLayoutId id="2147486520" r:id="rId36"/>
    <p:sldLayoutId id="2147486521" r:id="rId37"/>
    <p:sldLayoutId id="2147486522" r:id="rId38"/>
    <p:sldLayoutId id="2147486523" r:id="rId39"/>
    <p:sldLayoutId id="2147486524" r:id="rId40"/>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5150419"/>
      </p:ext>
    </p:extLst>
  </p:cSld>
  <p:clrMap bg1="lt1" tx1="dk1" bg2="lt2" tx2="dk2" accent1="accent1" accent2="accent2" accent3="accent3" accent4="accent4" accent5="accent5" accent6="accent6" hlink="hlink" folHlink="folHlink"/>
  <p:sldLayoutIdLst>
    <p:sldLayoutId id="2147486526" r:id="rId1"/>
    <p:sldLayoutId id="2147486527" r:id="rId2"/>
    <p:sldLayoutId id="2147486528" r:id="rId3"/>
    <p:sldLayoutId id="2147486529" r:id="rId4"/>
    <p:sldLayoutId id="2147486530" r:id="rId5"/>
    <p:sldLayoutId id="2147486531" r:id="rId6"/>
    <p:sldLayoutId id="2147486532" r:id="rId7"/>
    <p:sldLayoutId id="2147486533" r:id="rId8"/>
    <p:sldLayoutId id="2147486534" r:id="rId9"/>
    <p:sldLayoutId id="2147486535" r:id="rId10"/>
    <p:sldLayoutId id="2147486536" r:id="rId11"/>
    <p:sldLayoutId id="2147486537" r:id="rId12"/>
    <p:sldLayoutId id="2147486538" r:id="rId13"/>
    <p:sldLayoutId id="2147486539" r:id="rId14"/>
    <p:sldLayoutId id="2147486540" r:id="rId15"/>
    <p:sldLayoutId id="2147486541" r:id="rId16"/>
    <p:sldLayoutId id="2147486542" r:id="rId17"/>
    <p:sldLayoutId id="2147486543" r:id="rId18"/>
    <p:sldLayoutId id="2147486544" r:id="rId19"/>
    <p:sldLayoutId id="2147486545" r:id="rId20"/>
    <p:sldLayoutId id="2147486546" r:id="rId21"/>
    <p:sldLayoutId id="2147486547" r:id="rId22"/>
    <p:sldLayoutId id="2147486548" r:id="rId23"/>
    <p:sldLayoutId id="2147486549" r:id="rId24"/>
    <p:sldLayoutId id="2147486550" r:id="rId25"/>
    <p:sldLayoutId id="2147486551" r:id="rId26"/>
    <p:sldLayoutId id="2147486552" r:id="rId27"/>
    <p:sldLayoutId id="2147486553" r:id="rId28"/>
    <p:sldLayoutId id="2147486554" r:id="rId29"/>
    <p:sldLayoutId id="2147486555" r:id="rId30"/>
    <p:sldLayoutId id="2147486556" r:id="rId31"/>
    <p:sldLayoutId id="2147486557" r:id="rId32"/>
    <p:sldLayoutId id="2147486558" r:id="rId33"/>
    <p:sldLayoutId id="2147486559" r:id="rId34"/>
    <p:sldLayoutId id="2147486560" r:id="rId35"/>
    <p:sldLayoutId id="2147486561" r:id="rId36"/>
    <p:sldLayoutId id="2147486562" r:id="rId37"/>
    <p:sldLayoutId id="2147486563" r:id="rId38"/>
    <p:sldLayoutId id="2147486564" r:id="rId39"/>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449" y="600825"/>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5"/>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6167500"/>
      </p:ext>
    </p:extLst>
  </p:cSld>
  <p:clrMap bg1="lt1" tx1="dk1" bg2="lt2" tx2="dk2" accent1="accent1" accent2="accent2" accent3="accent3" accent4="accent4" accent5="accent5" accent6="accent6" hlink="hlink" folHlink="folHlink"/>
  <p:sldLayoutIdLst>
    <p:sldLayoutId id="2147484991" r:id="rId1"/>
    <p:sldLayoutId id="2147485004" r:id="rId2"/>
    <p:sldLayoutId id="2147485603" r:id="rId3"/>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p:nvPicPr>
        <p:blipFill>
          <a:blip r:embed="rId9"/>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9" name="Title Placeholder 1">
            <a:extLst>
              <a:ext uri="{FF2B5EF4-FFF2-40B4-BE49-F238E27FC236}">
                <a16:creationId xmlns:a16="http://schemas.microsoft.com/office/drawing/2014/main" id="{1FD6C9C8-0D43-4544-8C46-3B611967EEB3}"/>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90" name="Text Placeholder 3">
            <a:extLst>
              <a:ext uri="{FF2B5EF4-FFF2-40B4-BE49-F238E27FC236}">
                <a16:creationId xmlns:a16="http://schemas.microsoft.com/office/drawing/2014/main" id="{DB8B41FC-5A8F-4199-95B2-A90C64B5243E}"/>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1" name="NEW Brand Colors 2018">
            <a:extLst>
              <a:ext uri="{FF2B5EF4-FFF2-40B4-BE49-F238E27FC236}">
                <a16:creationId xmlns:a16="http://schemas.microsoft.com/office/drawing/2014/main" id="{4D0FA55F-170C-40B6-8618-3E8D59F7EB7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2" name="GRID" hidden="1">
            <a:extLst>
              <a:ext uri="{FF2B5EF4-FFF2-40B4-BE49-F238E27FC236}">
                <a16:creationId xmlns:a16="http://schemas.microsoft.com/office/drawing/2014/main" id="{1DFD5872-1398-4DA3-9C76-7C81A0C943EB}"/>
              </a:ext>
            </a:extLst>
          </p:cNvPr>
          <p:cNvGrpSpPr/>
          <p:nvPr userDrawn="1"/>
        </p:nvGrpSpPr>
        <p:grpSpPr>
          <a:xfrm>
            <a:off x="0" y="0"/>
            <a:ext cx="12192000" cy="6858000"/>
            <a:chOff x="0" y="0"/>
            <a:chExt cx="12192000" cy="6858000"/>
          </a:xfrm>
        </p:grpSpPr>
        <p:cxnSp>
          <p:nvCxnSpPr>
            <p:cNvPr id="93" name="Straight Connector 92">
              <a:extLst>
                <a:ext uri="{FF2B5EF4-FFF2-40B4-BE49-F238E27FC236}">
                  <a16:creationId xmlns:a16="http://schemas.microsoft.com/office/drawing/2014/main" id="{49B1BA48-8EF4-4ECA-BFC6-F7147C3F09D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EEA01C3-22A2-4C58-8B10-7BD8CE45179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D7EEB1B-3894-4B62-ACAB-E5618EF4319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2BECD9-9162-459B-98DB-5FE0ACC2B68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139EB89-B961-4F70-B546-6852973CC09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6C8AC63-5DE5-41BC-9E3E-DED75595E10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C91798-9E9A-4688-AC8B-12486B0C8E88}"/>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2DC2AD9-7547-4CE9-BB44-4748E0E51B6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46B47C2-34CC-4949-81D4-BA0305AEC5A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C85E6CF-CB09-4E3A-A022-4D61EC395E1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E4D7B29-6918-4C9B-99C6-FEDF0CD5F28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7C98B21-DB83-46F1-90F1-841520489E7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7DDDFB-865D-4BFD-AE52-7BAB80B4DFA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839A21-53DD-4A3F-929D-BB832B80D96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260E1F9-4D49-42FF-9773-68C86237EF5E}"/>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28087DE-58E8-4FB1-B17B-1B4800407B9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8B6284E-3BA0-41D4-AA8F-D773390D493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C23985B-12C9-4620-832A-EA9ABEF2D4B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E39FD4C-73B5-48B4-9A2E-07EF9FD8BDA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4426CA7-C1B2-4A88-A5BE-4559D0F457B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41E664-9BE9-482D-8E8E-C4C1580C727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8AAF66-C33D-4257-BFE1-B633E9424BD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D9550D-E9BD-49C3-87A3-3F936D7639C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E8FE344-B8DE-4844-8516-BA1AF7297DE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D0691DD-E965-4314-95B1-799ACF84A96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29FF097-D0F3-45C4-A86C-D0315113A1D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4938CCF-7C06-4C6F-9E88-CA72195B3932}"/>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31DB004-7BB0-4955-B4EC-80E468B24820}"/>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85F189B-02FC-41C6-9A14-1F450024DD6A}"/>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793164C-8DA3-4288-BC99-121218D584F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29177A9-E124-440A-8976-6C0679648E8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405E976-2C5E-45BF-822D-F51FEB1046CC}"/>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EE49FC-FE13-45E3-BA60-0BFF97D5F7F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BAB42E5-7172-4799-9F81-E9782F71A49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7" name=".64 square" hidden="1">
            <a:extLst>
              <a:ext uri="{FF2B5EF4-FFF2-40B4-BE49-F238E27FC236}">
                <a16:creationId xmlns:a16="http://schemas.microsoft.com/office/drawing/2014/main" id="{0AB42F50-C6A4-4D3A-9772-07221177C5C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32 square" hidden="1">
            <a:extLst>
              <a:ext uri="{FF2B5EF4-FFF2-40B4-BE49-F238E27FC236}">
                <a16:creationId xmlns:a16="http://schemas.microsoft.com/office/drawing/2014/main" id="{92D066B3-B1C8-4A72-8826-794309145DC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17745479"/>
      </p:ext>
    </p:extLst>
  </p:cSld>
  <p:clrMap bg1="lt1" tx1="dk1" bg2="lt2" tx2="dk2" accent1="accent1" accent2="accent2" accent3="accent3" accent4="accent4" accent5="accent5" accent6="accent6" hlink="hlink" folHlink="folHlink"/>
  <p:sldLayoutIdLst>
    <p:sldLayoutId id="2147485087" r:id="rId1"/>
    <p:sldLayoutId id="2147485088" r:id="rId2"/>
    <p:sldLayoutId id="2147485091" r:id="rId3"/>
    <p:sldLayoutId id="2147485096" r:id="rId4"/>
    <p:sldLayoutId id="2147485098" r:id="rId5"/>
    <p:sldLayoutId id="2147485104" r:id="rId6"/>
    <p:sldLayoutId id="2147485107" r:id="rId7"/>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1668054"/>
      </p:ext>
    </p:extLst>
  </p:cSld>
  <p:clrMap bg1="lt1" tx1="dk1" bg2="lt2" tx2="dk2" accent1="accent1" accent2="accent2" accent3="accent3" accent4="accent4" accent5="accent5" accent6="accent6" hlink="hlink" folHlink="folHlink"/>
  <p:sldLayoutIdLst>
    <p:sldLayoutId id="2147485772" r:id="rId1"/>
    <p:sldLayoutId id="2147485773" r:id="rId2"/>
    <p:sldLayoutId id="2147485774" r:id="rId3"/>
    <p:sldLayoutId id="2147485775" r:id="rId4"/>
    <p:sldLayoutId id="2147485776" r:id="rId5"/>
    <p:sldLayoutId id="2147485777" r:id="rId6"/>
    <p:sldLayoutId id="2147485778" r:id="rId7"/>
    <p:sldLayoutId id="2147485779" r:id="rId8"/>
    <p:sldLayoutId id="2147485780" r:id="rId9"/>
    <p:sldLayoutId id="2147485781" r:id="rId10"/>
    <p:sldLayoutId id="2147485782" r:id="rId11"/>
    <p:sldLayoutId id="2147485783" r:id="rId12"/>
    <p:sldLayoutId id="2147485786" r:id="rId13"/>
    <p:sldLayoutId id="2147485787" r:id="rId14"/>
    <p:sldLayoutId id="2147485788" r:id="rId15"/>
    <p:sldLayoutId id="2147485789" r:id="rId16"/>
    <p:sldLayoutId id="2147485790" r:id="rId17"/>
    <p:sldLayoutId id="2147485791" r:id="rId18"/>
    <p:sldLayoutId id="2147485792" r:id="rId19"/>
    <p:sldLayoutId id="2147485793" r:id="rId20"/>
    <p:sldLayoutId id="2147485794" r:id="rId21"/>
    <p:sldLayoutId id="2147485795" r:id="rId22"/>
    <p:sldLayoutId id="2147485796" r:id="rId23"/>
    <p:sldLayoutId id="2147486566" r:id="rId24"/>
    <p:sldLayoutId id="2147486567" r:id="rId25"/>
    <p:sldLayoutId id="2147486568" r:id="rId26"/>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1"/>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1"/>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674993"/>
      </p:ext>
    </p:extLst>
  </p:cSld>
  <p:clrMap bg1="lt1" tx1="dk1" bg2="lt2" tx2="dk2" accent1="accent1" accent2="accent2" accent3="accent3" accent4="accent4" accent5="accent5" accent6="accent6" hlink="hlink" folHlink="folHlink"/>
  <p:sldLayoutIdLst>
    <p:sldLayoutId id="2147485916" r:id="rId1"/>
    <p:sldLayoutId id="2147485918" r:id="rId2"/>
    <p:sldLayoutId id="2147485919" r:id="rId3"/>
    <p:sldLayoutId id="2147485920" r:id="rId4"/>
    <p:sldLayoutId id="2147485921" r:id="rId5"/>
    <p:sldLayoutId id="2147485922" r:id="rId6"/>
    <p:sldLayoutId id="2147485923" r:id="rId7"/>
    <p:sldLayoutId id="2147485924" r:id="rId8"/>
    <p:sldLayoutId id="2147485925" r:id="rId9"/>
    <p:sldLayoutId id="2147485926" r:id="rId10"/>
    <p:sldLayoutId id="2147485927" r:id="rId11"/>
    <p:sldLayoutId id="2147485928" r:id="rId12"/>
    <p:sldLayoutId id="2147485929" r:id="rId13"/>
    <p:sldLayoutId id="2147485930" r:id="rId14"/>
    <p:sldLayoutId id="2147485931" r:id="rId15"/>
    <p:sldLayoutId id="2147485932" r:id="rId16"/>
    <p:sldLayoutId id="2147485933" r:id="rId17"/>
    <p:sldLayoutId id="2147485934" r:id="rId18"/>
    <p:sldLayoutId id="2147485935" r:id="rId19"/>
    <p:sldLayoutId id="2147485936" r:id="rId20"/>
    <p:sldLayoutId id="2147485937" r:id="rId21"/>
    <p:sldLayoutId id="2147485938" r:id="rId22"/>
    <p:sldLayoutId id="2147485939" r:id="rId23"/>
    <p:sldLayoutId id="2147485940" r:id="rId24"/>
    <p:sldLayoutId id="2147485941" r:id="rId25"/>
    <p:sldLayoutId id="2147485942" r:id="rId26"/>
    <p:sldLayoutId id="2147485943" r:id="rId27"/>
    <p:sldLayoutId id="2147485944" r:id="rId28"/>
    <p:sldLayoutId id="2147485945" r:id="rId29"/>
    <p:sldLayoutId id="2147485949" r:id="rId30"/>
    <p:sldLayoutId id="2147485950" r:id="rId31"/>
    <p:sldLayoutId id="2147485951" r:id="rId32"/>
    <p:sldLayoutId id="2147485952" r:id="rId33"/>
    <p:sldLayoutId id="2147485953" r:id="rId34"/>
    <p:sldLayoutId id="2147485954" r:id="rId35"/>
    <p:sldLayoutId id="2147485955" r:id="rId36"/>
    <p:sldLayoutId id="2147485956" r:id="rId37"/>
    <p:sldLayoutId id="2147485957" r:id="rId38"/>
    <p:sldLayoutId id="2147485958" r:id="rId39"/>
    <p:sldLayoutId id="2147485959" r:id="rId40"/>
    <p:sldLayoutId id="2147485960" r:id="rId41"/>
    <p:sldLayoutId id="2147485961" r:id="rId42"/>
    <p:sldLayoutId id="2147485963" r:id="rId43"/>
    <p:sldLayoutId id="2147485965" r:id="rId44"/>
    <p:sldLayoutId id="2147485968" r:id="rId45"/>
    <p:sldLayoutId id="2147485972" r:id="rId46"/>
    <p:sldLayoutId id="2147485973" r:id="rId47"/>
    <p:sldLayoutId id="2147485974" r:id="rId48"/>
    <p:sldLayoutId id="2147485976" r:id="rId49"/>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1827328"/>
      </p:ext>
    </p:extLst>
  </p:cSld>
  <p:clrMap bg1="lt1" tx1="dk1" bg2="lt2" tx2="dk2" accent1="accent1" accent2="accent2" accent3="accent3" accent4="accent4" accent5="accent5" accent6="accent6" hlink="hlink" folHlink="folHlink"/>
  <p:sldLayoutIdLst>
    <p:sldLayoutId id="2147486004" r:id="rId1"/>
    <p:sldLayoutId id="2147486005" r:id="rId2"/>
    <p:sldLayoutId id="2147486006" r:id="rId3"/>
    <p:sldLayoutId id="2147486007" r:id="rId4"/>
    <p:sldLayoutId id="2147486008" r:id="rId5"/>
    <p:sldLayoutId id="2147486009" r:id="rId6"/>
    <p:sldLayoutId id="2147486010" r:id="rId7"/>
    <p:sldLayoutId id="2147486011" r:id="rId8"/>
    <p:sldLayoutId id="2147486012" r:id="rId9"/>
    <p:sldLayoutId id="2147486013" r:id="rId10"/>
    <p:sldLayoutId id="2147486014" r:id="rId11"/>
    <p:sldLayoutId id="2147486015" r:id="rId12"/>
    <p:sldLayoutId id="2147486016" r:id="rId13"/>
    <p:sldLayoutId id="2147486017" r:id="rId14"/>
    <p:sldLayoutId id="2147486018" r:id="rId15"/>
    <p:sldLayoutId id="2147486019" r:id="rId16"/>
    <p:sldLayoutId id="2147486020" r:id="rId17"/>
    <p:sldLayoutId id="2147486021" r:id="rId18"/>
  </p:sldLayoutIdLst>
  <p:transition>
    <p:fade/>
  </p:transition>
  <p:hf sldNum="0" hd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449" y="600825"/>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50"/>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8066718"/>
      </p:ext>
    </p:extLst>
  </p:cSld>
  <p:clrMap bg1="lt1" tx1="dk1" bg2="lt2" tx2="dk2" accent1="accent1" accent2="accent2" accent3="accent3" accent4="accent4" accent5="accent5" accent6="accent6" hlink="hlink" folHlink="folHlink"/>
  <p:sldLayoutIdLst>
    <p:sldLayoutId id="2147486024" r:id="rId1"/>
    <p:sldLayoutId id="2147486025" r:id="rId2"/>
    <p:sldLayoutId id="2147486026" r:id="rId3"/>
    <p:sldLayoutId id="2147486027" r:id="rId4"/>
    <p:sldLayoutId id="2147486028" r:id="rId5"/>
    <p:sldLayoutId id="2147486029" r:id="rId6"/>
    <p:sldLayoutId id="2147486030" r:id="rId7"/>
    <p:sldLayoutId id="2147486031" r:id="rId8"/>
    <p:sldLayoutId id="2147486032" r:id="rId9"/>
    <p:sldLayoutId id="2147486033" r:id="rId10"/>
    <p:sldLayoutId id="2147486034" r:id="rId11"/>
    <p:sldLayoutId id="2147486035" r:id="rId12"/>
    <p:sldLayoutId id="2147486036" r:id="rId13"/>
    <p:sldLayoutId id="2147486037" r:id="rId14"/>
    <p:sldLayoutId id="2147486038" r:id="rId15"/>
    <p:sldLayoutId id="2147486039" r:id="rId16"/>
    <p:sldLayoutId id="2147486040" r:id="rId17"/>
    <p:sldLayoutId id="2147486041" r:id="rId18"/>
    <p:sldLayoutId id="2147486042" r:id="rId19"/>
    <p:sldLayoutId id="2147486043" r:id="rId20"/>
    <p:sldLayoutId id="2147486044" r:id="rId21"/>
    <p:sldLayoutId id="2147486045" r:id="rId22"/>
    <p:sldLayoutId id="2147486046" r:id="rId23"/>
    <p:sldLayoutId id="2147486047" r:id="rId24"/>
    <p:sldLayoutId id="2147486048" r:id="rId25"/>
    <p:sldLayoutId id="2147486049" r:id="rId26"/>
    <p:sldLayoutId id="2147486050" r:id="rId27"/>
    <p:sldLayoutId id="2147486051" r:id="rId28"/>
    <p:sldLayoutId id="2147486052" r:id="rId29"/>
    <p:sldLayoutId id="2147486053" r:id="rId30"/>
    <p:sldLayoutId id="2147486054" r:id="rId31"/>
    <p:sldLayoutId id="2147486055" r:id="rId32"/>
    <p:sldLayoutId id="2147486056" r:id="rId33"/>
    <p:sldLayoutId id="2147486057" r:id="rId34"/>
    <p:sldLayoutId id="2147486058" r:id="rId35"/>
    <p:sldLayoutId id="2147486059" r:id="rId36"/>
    <p:sldLayoutId id="2147486060" r:id="rId37"/>
    <p:sldLayoutId id="2147486061" r:id="rId38"/>
    <p:sldLayoutId id="2147486062" r:id="rId39"/>
    <p:sldLayoutId id="2147486063" r:id="rId40"/>
    <p:sldLayoutId id="2147486064" r:id="rId41"/>
    <p:sldLayoutId id="2147486065" r:id="rId42"/>
    <p:sldLayoutId id="2147486066" r:id="rId43"/>
    <p:sldLayoutId id="2147486067" r:id="rId44"/>
    <p:sldLayoutId id="2147486068" r:id="rId45"/>
    <p:sldLayoutId id="2147486069" r:id="rId46"/>
    <p:sldLayoutId id="2147486070" r:id="rId47"/>
    <p:sldLayoutId id="2147486071" r:id="rId48"/>
  </p:sldLayoutIdLst>
  <p:transition>
    <p:fade/>
  </p:transition>
  <p:hf sldNum="0" hd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51960489"/>
      </p:ext>
    </p:extLst>
  </p:cSld>
  <p:clrMap bg1="lt1" tx1="dk1" bg2="lt2" tx2="dk2" accent1="accent1" accent2="accent2" accent3="accent3" accent4="accent4" accent5="accent5" accent6="accent6" hlink="hlink" folHlink="folHlink"/>
  <p:sldLayoutIdLst>
    <p:sldLayoutId id="2147486227" r:id="rId1"/>
    <p:sldLayoutId id="2147486228" r:id="rId2"/>
    <p:sldLayoutId id="2147486229" r:id="rId3"/>
    <p:sldLayoutId id="2147486230" r:id="rId4"/>
    <p:sldLayoutId id="2147486231" r:id="rId5"/>
    <p:sldLayoutId id="2147486232" r:id="rId6"/>
    <p:sldLayoutId id="2147486233" r:id="rId7"/>
    <p:sldLayoutId id="2147486234" r:id="rId8"/>
    <p:sldLayoutId id="2147486235" r:id="rId9"/>
    <p:sldLayoutId id="2147486236" r:id="rId10"/>
    <p:sldLayoutId id="2147486237" r:id="rId11"/>
    <p:sldLayoutId id="2147486238" r:id="rId12"/>
    <p:sldLayoutId id="2147486239" r:id="rId13"/>
    <p:sldLayoutId id="2147486240" r:id="rId14"/>
    <p:sldLayoutId id="2147486241" r:id="rId15"/>
    <p:sldLayoutId id="2147486242" r:id="rId16"/>
    <p:sldLayoutId id="2147486243" r:id="rId17"/>
    <p:sldLayoutId id="2147486244" r:id="rId18"/>
    <p:sldLayoutId id="2147486245" r:id="rId19"/>
    <p:sldLayoutId id="2147486246" r:id="rId20"/>
    <p:sldLayoutId id="2147486247" r:id="rId21"/>
    <p:sldLayoutId id="2147486248" r:id="rId22"/>
    <p:sldLayoutId id="2147486249" r:id="rId23"/>
    <p:sldLayoutId id="2147486250" r:id="rId24"/>
    <p:sldLayoutId id="2147486251" r:id="rId25"/>
    <p:sldLayoutId id="2147486252" r:id="rId26"/>
    <p:sldLayoutId id="2147486253" r:id="rId27"/>
    <p:sldLayoutId id="2147486254" r:id="rId28"/>
    <p:sldLayoutId id="2147486255" r:id="rId29"/>
    <p:sldLayoutId id="2147486256" r:id="rId30"/>
    <p:sldLayoutId id="2147486257" r:id="rId31"/>
    <p:sldLayoutId id="2147486258" r:id="rId32"/>
    <p:sldLayoutId id="2147486259" r:id="rId33"/>
    <p:sldLayoutId id="2147486260" r:id="rId34"/>
    <p:sldLayoutId id="2147486261" r:id="rId35"/>
    <p:sldLayoutId id="2147486262" r:id="rId36"/>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8"/>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776418582"/>
      </p:ext>
    </p:extLst>
  </p:cSld>
  <p:clrMap bg1="lt1" tx1="dk1" bg2="lt2" tx2="dk2" accent1="accent1" accent2="accent2" accent3="accent3" accent4="accent4" accent5="accent5" accent6="accent6" hlink="hlink" folHlink="folHlink"/>
  <p:sldLayoutIdLst>
    <p:sldLayoutId id="2147486276" r:id="rId1"/>
    <p:sldLayoutId id="2147486277" r:id="rId2"/>
    <p:sldLayoutId id="2147486278" r:id="rId3"/>
    <p:sldLayoutId id="2147486279" r:id="rId4"/>
    <p:sldLayoutId id="2147486280" r:id="rId5"/>
    <p:sldLayoutId id="2147486281" r:id="rId6"/>
    <p:sldLayoutId id="2147486282" r:id="rId7"/>
    <p:sldLayoutId id="2147486283" r:id="rId8"/>
    <p:sldLayoutId id="2147486284" r:id="rId9"/>
    <p:sldLayoutId id="2147486285" r:id="rId10"/>
    <p:sldLayoutId id="2147486286" r:id="rId11"/>
    <p:sldLayoutId id="2147486287" r:id="rId12"/>
    <p:sldLayoutId id="2147486288" r:id="rId13"/>
    <p:sldLayoutId id="2147486289" r:id="rId14"/>
    <p:sldLayoutId id="2147486290" r:id="rId15"/>
    <p:sldLayoutId id="2147486291" r:id="rId16"/>
    <p:sldLayoutId id="2147486292" r:id="rId17"/>
    <p:sldLayoutId id="2147486293" r:id="rId18"/>
    <p:sldLayoutId id="2147486294" r:id="rId19"/>
    <p:sldLayoutId id="2147486295" r:id="rId20"/>
    <p:sldLayoutId id="2147486296" r:id="rId21"/>
    <p:sldLayoutId id="2147486297" r:id="rId22"/>
    <p:sldLayoutId id="2147486298" r:id="rId23"/>
    <p:sldLayoutId id="2147486299" r:id="rId24"/>
    <p:sldLayoutId id="2147486300" r:id="rId25"/>
    <p:sldLayoutId id="2147486301" r:id="rId26"/>
    <p:sldLayoutId id="2147486302" r:id="rId27"/>
    <p:sldLayoutId id="2147486303" r:id="rId28"/>
    <p:sldLayoutId id="2147486304" r:id="rId29"/>
    <p:sldLayoutId id="2147486305" r:id="rId30"/>
    <p:sldLayoutId id="2147486306" r:id="rId31"/>
    <p:sldLayoutId id="2147486307" r:id="rId32"/>
    <p:sldLayoutId id="2147486308" r:id="rId33"/>
    <p:sldLayoutId id="2147486310" r:id="rId34"/>
    <p:sldLayoutId id="2147486311" r:id="rId35"/>
    <p:sldLayoutId id="2147486569" r:id="rId36"/>
  </p:sldLayoutIdLst>
  <p:transition>
    <p:fade/>
  </p:transition>
  <p:hf sldNum="0" hdr="0" dt="0"/>
  <p:txStyles>
    <p:titleStyle>
      <a:lvl1pPr algn="l" defTabSz="914192" rtl="0" eaLnBrk="1" latinLnBrk="0" hangingPunct="1">
        <a:lnSpc>
          <a:spcPct val="90000"/>
        </a:lnSpc>
        <a:spcBef>
          <a:spcPct val="0"/>
        </a:spcBef>
        <a:buNone/>
        <a:defRPr lang="en-US" sz="3528"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371"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0.xml"/><Relationship Id="rId1" Type="http://schemas.openxmlformats.org/officeDocument/2006/relationships/themeOverride" Target="../theme/themeOverride1.xml"/><Relationship Id="rId5" Type="http://schemas.openxmlformats.org/officeDocument/2006/relationships/image" Target="../media/image57.png"/><Relationship Id="rId4" Type="http://schemas.openxmlformats.org/officeDocument/2006/relationships/image" Target="../media/image56.png"/></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8.xml"/><Relationship Id="rId7" Type="http://schemas.openxmlformats.org/officeDocument/2006/relationships/image" Target="../media/image73.png"/><Relationship Id="rId12" Type="http://schemas.openxmlformats.org/officeDocument/2006/relationships/image" Target="../media/image78.svg"/><Relationship Id="rId2" Type="http://schemas.openxmlformats.org/officeDocument/2006/relationships/slideLayout" Target="../slideLayouts/slideLayout406.xml"/><Relationship Id="rId1" Type="http://schemas.openxmlformats.org/officeDocument/2006/relationships/themeOverride" Target="../theme/themeOverride3.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jpeg"/><Relationship Id="rId18" Type="http://schemas.openxmlformats.org/officeDocument/2006/relationships/image" Target="../media/image94.png"/><Relationship Id="rId3" Type="http://schemas.openxmlformats.org/officeDocument/2006/relationships/image" Target="../media/image79.png"/><Relationship Id="rId21" Type="http://schemas.openxmlformats.org/officeDocument/2006/relationships/image" Target="../media/image97.png"/><Relationship Id="rId7" Type="http://schemas.openxmlformats.org/officeDocument/2006/relationships/image" Target="../media/image83.png"/><Relationship Id="rId12" Type="http://schemas.openxmlformats.org/officeDocument/2006/relationships/image" Target="../media/image88.png"/><Relationship Id="rId17" Type="http://schemas.openxmlformats.org/officeDocument/2006/relationships/image" Target="../media/image93.svg"/><Relationship Id="rId2" Type="http://schemas.openxmlformats.org/officeDocument/2006/relationships/notesSlide" Target="../notesSlides/notesSlide10.xml"/><Relationship Id="rId16" Type="http://schemas.openxmlformats.org/officeDocument/2006/relationships/image" Target="../media/image92.png"/><Relationship Id="rId20" Type="http://schemas.openxmlformats.org/officeDocument/2006/relationships/image" Target="../media/image96.png"/><Relationship Id="rId1" Type="http://schemas.openxmlformats.org/officeDocument/2006/relationships/slideLayout" Target="../slideLayouts/slideLayout40.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svg"/><Relationship Id="rId15" Type="http://schemas.openxmlformats.org/officeDocument/2006/relationships/image" Target="../media/image91.png"/><Relationship Id="rId10" Type="http://schemas.openxmlformats.org/officeDocument/2006/relationships/image" Target="../media/image86.png"/><Relationship Id="rId19" Type="http://schemas.openxmlformats.org/officeDocument/2006/relationships/image" Target="../media/image95.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14.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11.xml"/><Relationship Id="rId1" Type="http://schemas.openxmlformats.org/officeDocument/2006/relationships/slideLayout" Target="../slideLayouts/slideLayout219.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4.png"/></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2.xml"/><Relationship Id="rId1" Type="http://schemas.openxmlformats.org/officeDocument/2006/relationships/slideLayout" Target="../slideLayouts/slideLayout46.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8" Type="http://schemas.openxmlformats.org/officeDocument/2006/relationships/image" Target="../media/image111.png"/><Relationship Id="rId3" Type="http://schemas.microsoft.com/office/2007/relationships/media" Target="../media/media1.mp4"/><Relationship Id="rId7" Type="http://schemas.openxmlformats.org/officeDocument/2006/relationships/hyperlink" Target="http://aka.ms/contoso-migration" TargetMode="External"/><Relationship Id="rId2" Type="http://schemas.openxmlformats.org/officeDocument/2006/relationships/video" Target="NULL" TargetMode="External"/><Relationship Id="rId1" Type="http://schemas.openxmlformats.org/officeDocument/2006/relationships/themeOverride" Target="../theme/themeOverride4.xml"/><Relationship Id="rId6" Type="http://schemas.openxmlformats.org/officeDocument/2006/relationships/image" Target="../media/image110.png"/><Relationship Id="rId5" Type="http://schemas.openxmlformats.org/officeDocument/2006/relationships/notesSlide" Target="../notesSlides/notesSlide14.xml"/><Relationship Id="rId4"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hyperlink" Target="https://aka.ms/caf" TargetMode="External"/><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7.xml"/><Relationship Id="rId1" Type="http://schemas.openxmlformats.org/officeDocument/2006/relationships/slideLayout" Target="../slideLayouts/slideLayout40.xml"/><Relationship Id="rId5" Type="http://schemas.openxmlformats.org/officeDocument/2006/relationships/image" Target="../media/image114.png"/><Relationship Id="rId4"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36.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3.xml.rels><?xml version="1.0" encoding="UTF-8" standalone="yes"?>
<Relationships xmlns="http://schemas.openxmlformats.org/package/2006/relationships"><Relationship Id="rId3" Type="http://schemas.openxmlformats.org/officeDocument/2006/relationships/image" Target="../media/image121.svg"/><Relationship Id="rId2" Type="http://schemas.openxmlformats.org/officeDocument/2006/relationships/image" Target="../media/image120.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13.xml"/><Relationship Id="rId2" Type="http://schemas.openxmlformats.org/officeDocument/2006/relationships/tags" Target="../tags/tag1.xml"/><Relationship Id="rId1" Type="http://schemas.openxmlformats.org/officeDocument/2006/relationships/themeOverride" Target="../theme/themeOverride2.xml"/><Relationship Id="rId4" Type="http://schemas.openxmlformats.org/officeDocument/2006/relationships/hyperlink" Target="http://www.support.microsoft.com/lifecycl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24.xml"/></Relationships>
</file>

<file path=ppt/slides/_rels/slide5.xml.rels><?xml version="1.0" encoding="UTF-8" standalone="yes"?>
<Relationships xmlns="http://schemas.openxmlformats.org/package/2006/relationships"><Relationship Id="rId8" Type="http://schemas.openxmlformats.org/officeDocument/2006/relationships/hyperlink" Target="https://azure.microsoft.com/en-us/pricing/hybrid-benefit/" TargetMode="External"/><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262.xml"/><Relationship Id="rId6" Type="http://schemas.openxmlformats.org/officeDocument/2006/relationships/image" Target="../media/image62.svg"/><Relationship Id="rId11" Type="http://schemas.openxmlformats.org/officeDocument/2006/relationships/hyperlink" Target="aka.ms/why5xmore" TargetMode="External"/><Relationship Id="rId5" Type="http://schemas.openxmlformats.org/officeDocument/2006/relationships/image" Target="../media/image61.png"/><Relationship Id="rId10" Type="http://schemas.openxmlformats.org/officeDocument/2006/relationships/image" Target="../media/image64.png"/><Relationship Id="rId4" Type="http://schemas.openxmlformats.org/officeDocument/2006/relationships/image" Target="../media/image60.svg"/><Relationship Id="rId9" Type="http://schemas.openxmlformats.org/officeDocument/2006/relationships/hyperlink" Target="https://azure.microsoft.com/en-us/pricing/details/sql-database/managed/"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hyperlink" Target="https://microsoft.sharepoint.com/sites/infopedia/pages/layouts/kcdoc.aspx?k=g01kc-1-38384" TargetMode="External"/><Relationship Id="rId5" Type="http://schemas.openxmlformats.org/officeDocument/2006/relationships/hyperlink" Target="https://microsoft.sharepoint.com/sites/infopedia/pages/layouts/kcdoc.aspx?k=g01kc-1-37061" TargetMode="External"/><Relationship Id="rId4" Type="http://schemas.openxmlformats.org/officeDocument/2006/relationships/image" Target="../media/image66.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40.xml"/><Relationship Id="rId5" Type="http://schemas.openxmlformats.org/officeDocument/2006/relationships/image" Target="../media/image69.png"/><Relationship Id="rId4" Type="http://schemas.openxmlformats.org/officeDocument/2006/relationships/image" Target="../media/image68.jp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34806" y="2881407"/>
            <a:ext cx="9931819" cy="800219"/>
          </a:xfrm>
        </p:spPr>
        <p:txBody>
          <a:bodyPr/>
          <a:lstStyle/>
          <a:p>
            <a:pPr algn="l"/>
            <a:r>
              <a:rPr lang="en-US" sz="4000" dirty="0">
                <a:solidFill>
                  <a:schemeClr val="tx1"/>
                </a:solidFill>
              </a:rPr>
              <a:t>Cloud Transformation</a:t>
            </a:r>
          </a:p>
        </p:txBody>
      </p:sp>
      <p:pic>
        <p:nvPicPr>
          <p:cNvPr id="3" name="Picture 2">
            <a:extLst>
              <a:ext uri="{FF2B5EF4-FFF2-40B4-BE49-F238E27FC236}">
                <a16:creationId xmlns:a16="http://schemas.microsoft.com/office/drawing/2014/main" id="{64BBB8D6-112B-4A61-9C15-3E62C3827EFC}"/>
              </a:ext>
            </a:extLst>
          </p:cNvPr>
          <p:cNvPicPr>
            <a:picLocks noChangeAspect="1"/>
          </p:cNvPicPr>
          <p:nvPr/>
        </p:nvPicPr>
        <p:blipFill>
          <a:blip r:embed="rId4"/>
          <a:stretch>
            <a:fillRect/>
          </a:stretch>
        </p:blipFill>
        <p:spPr>
          <a:xfrm>
            <a:off x="-109819" y="-97542"/>
            <a:ext cx="3657600" cy="1209780"/>
          </a:xfrm>
          <a:prstGeom prst="rect">
            <a:avLst/>
          </a:prstGeom>
        </p:spPr>
      </p:pic>
      <p:sp>
        <p:nvSpPr>
          <p:cNvPr id="4" name="Text Placeholder 3">
            <a:extLst>
              <a:ext uri="{FF2B5EF4-FFF2-40B4-BE49-F238E27FC236}">
                <a16:creationId xmlns:a16="http://schemas.microsoft.com/office/drawing/2014/main" id="{137252F1-5BAB-43B8-A0B5-898197F80EBD}"/>
              </a:ext>
            </a:extLst>
          </p:cNvPr>
          <p:cNvSpPr>
            <a:spLocks noGrp="1"/>
          </p:cNvSpPr>
          <p:nvPr>
            <p:ph type="body" sz="quarter" idx="12"/>
          </p:nvPr>
        </p:nvSpPr>
        <p:spPr/>
        <p:txBody>
          <a:bodyPr/>
          <a:lstStyle/>
          <a:p>
            <a:r>
              <a:rPr lang="en-US" dirty="0">
                <a:solidFill>
                  <a:schemeClr val="tx1"/>
                </a:solidFill>
              </a:rPr>
              <a:t>Sarah Lean</a:t>
            </a:r>
          </a:p>
          <a:p>
            <a:r>
              <a:rPr lang="en-US" dirty="0">
                <a:solidFill>
                  <a:schemeClr val="tx1"/>
                </a:solidFill>
              </a:rPr>
              <a:t>Cloud Solution Architect – </a:t>
            </a:r>
            <a:r>
              <a:rPr lang="en-US" dirty="0" err="1">
                <a:solidFill>
                  <a:schemeClr val="tx1"/>
                </a:solidFill>
              </a:rPr>
              <a:t>Datacentre</a:t>
            </a:r>
            <a:r>
              <a:rPr lang="en-US" dirty="0">
                <a:solidFill>
                  <a:schemeClr val="tx1"/>
                </a:solidFill>
              </a:rPr>
              <a:t> Migration Specialist</a:t>
            </a:r>
          </a:p>
          <a:p>
            <a:endParaRPr lang="en-US" dirty="0">
              <a:solidFill>
                <a:schemeClr val="tx1"/>
              </a:solidFill>
            </a:endParaRPr>
          </a:p>
          <a:p>
            <a:r>
              <a:rPr lang="en-US" dirty="0">
                <a:solidFill>
                  <a:schemeClr val="tx1"/>
                </a:solidFill>
              </a:rPr>
              <a:t>@</a:t>
            </a:r>
            <a:r>
              <a:rPr lang="en-US" dirty="0" err="1">
                <a:solidFill>
                  <a:schemeClr val="tx1"/>
                </a:solidFill>
              </a:rPr>
              <a:t>TechieLass</a:t>
            </a:r>
            <a:endParaRPr lang="en-US" dirty="0">
              <a:solidFill>
                <a:schemeClr val="tx1"/>
              </a:solidFill>
            </a:endParaRPr>
          </a:p>
        </p:txBody>
      </p:sp>
      <p:pic>
        <p:nvPicPr>
          <p:cNvPr id="5" name="Picture 4">
            <a:extLst>
              <a:ext uri="{FF2B5EF4-FFF2-40B4-BE49-F238E27FC236}">
                <a16:creationId xmlns:a16="http://schemas.microsoft.com/office/drawing/2014/main" id="{CEB57459-5CEA-4EB5-8C48-F6D3890B9D85}"/>
              </a:ext>
            </a:extLst>
          </p:cNvPr>
          <p:cNvPicPr>
            <a:picLocks noChangeAspect="1"/>
          </p:cNvPicPr>
          <p:nvPr/>
        </p:nvPicPr>
        <p:blipFill>
          <a:blip r:embed="rId5"/>
          <a:stretch>
            <a:fillRect/>
          </a:stretch>
        </p:blipFill>
        <p:spPr>
          <a:xfrm>
            <a:off x="8644221" y="319241"/>
            <a:ext cx="2962275" cy="2962275"/>
          </a:xfrm>
          <a:prstGeom prst="rect">
            <a:avLst/>
          </a:prstGeom>
        </p:spPr>
      </p:pic>
    </p:spTree>
    <p:extLst>
      <p:ext uri="{BB962C8B-B14F-4D97-AF65-F5344CB8AC3E}">
        <p14:creationId xmlns:p14="http://schemas.microsoft.com/office/powerpoint/2010/main" val="251974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 name="Org_ECA6" title="Icon of three boxes in a bracket chart">
            <a:extLst>
              <a:ext uri="{FF2B5EF4-FFF2-40B4-BE49-F238E27FC236}">
                <a16:creationId xmlns:a16="http://schemas.microsoft.com/office/drawing/2014/main" id="{327E9482-038C-4FFE-BCFC-6BD6186D5630}"/>
              </a:ext>
            </a:extLst>
          </p:cNvPr>
          <p:cNvSpPr>
            <a:spLocks noChangeAspect="1" noEditPoints="1"/>
          </p:cNvSpPr>
          <p:nvPr/>
        </p:nvSpPr>
        <p:spPr bwMode="auto">
          <a:xfrm>
            <a:off x="890653" y="4024187"/>
            <a:ext cx="480668" cy="480902"/>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1"/>
              </a:solidFill>
              <a:effectLst/>
              <a:uLnTx/>
              <a:uFillTx/>
              <a:latin typeface="Segoe UI"/>
              <a:ea typeface="+mn-ea"/>
              <a:cs typeface="+mn-cs"/>
            </a:endParaRPr>
          </a:p>
        </p:txBody>
      </p:sp>
      <p:sp>
        <p:nvSpPr>
          <p:cNvPr id="51" name="globe_6" title="Icon of a monitor in front of a sphere made of lines">
            <a:extLst>
              <a:ext uri="{FF2B5EF4-FFF2-40B4-BE49-F238E27FC236}">
                <a16:creationId xmlns:a16="http://schemas.microsoft.com/office/drawing/2014/main" id="{B9ECDB11-6180-480A-B54A-9145D01F609A}"/>
              </a:ext>
            </a:extLst>
          </p:cNvPr>
          <p:cNvSpPr>
            <a:spLocks noChangeAspect="1" noEditPoints="1"/>
          </p:cNvSpPr>
          <p:nvPr/>
        </p:nvSpPr>
        <p:spPr bwMode="auto">
          <a:xfrm>
            <a:off x="906530" y="2720819"/>
            <a:ext cx="448915" cy="48090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52" name="Database_EFC7" title="Icon of a cylinder">
            <a:extLst>
              <a:ext uri="{FF2B5EF4-FFF2-40B4-BE49-F238E27FC236}">
                <a16:creationId xmlns:a16="http://schemas.microsoft.com/office/drawing/2014/main" id="{917155FA-947F-4AC8-BD9E-F8B613C123CB}"/>
              </a:ext>
            </a:extLst>
          </p:cNvPr>
          <p:cNvSpPr>
            <a:spLocks noChangeAspect="1" noEditPoints="1"/>
          </p:cNvSpPr>
          <p:nvPr/>
        </p:nvSpPr>
        <p:spPr bwMode="auto">
          <a:xfrm>
            <a:off x="946002" y="5454893"/>
            <a:ext cx="369970" cy="4809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Segoe UI"/>
              <a:ea typeface="+mn-ea"/>
              <a:cs typeface="+mn-cs"/>
            </a:endParaRPr>
          </a:p>
        </p:txBody>
      </p:sp>
      <p:sp>
        <p:nvSpPr>
          <p:cNvPr id="5" name="TextBox 4">
            <a:extLst>
              <a:ext uri="{FF2B5EF4-FFF2-40B4-BE49-F238E27FC236}">
                <a16:creationId xmlns:a16="http://schemas.microsoft.com/office/drawing/2014/main" id="{A34DD977-B72F-44E1-80B8-FB513553CB65}"/>
              </a:ext>
            </a:extLst>
          </p:cNvPr>
          <p:cNvSpPr txBox="1"/>
          <p:nvPr/>
        </p:nvSpPr>
        <p:spPr>
          <a:xfrm>
            <a:off x="518127" y="3211361"/>
            <a:ext cx="1225720"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Compute</a:t>
            </a:r>
          </a:p>
        </p:txBody>
      </p:sp>
      <p:sp>
        <p:nvSpPr>
          <p:cNvPr id="54" name="TextBox 53">
            <a:extLst>
              <a:ext uri="{FF2B5EF4-FFF2-40B4-BE49-F238E27FC236}">
                <a16:creationId xmlns:a16="http://schemas.microsoft.com/office/drawing/2014/main" id="{2BDB46E8-C5FA-4C19-9477-2B68AC958E2E}"/>
              </a:ext>
            </a:extLst>
          </p:cNvPr>
          <p:cNvSpPr txBox="1"/>
          <p:nvPr/>
        </p:nvSpPr>
        <p:spPr>
          <a:xfrm>
            <a:off x="398511" y="4457251"/>
            <a:ext cx="1464953"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Networking</a:t>
            </a:r>
          </a:p>
        </p:txBody>
      </p:sp>
      <p:sp>
        <p:nvSpPr>
          <p:cNvPr id="55" name="TextBox 54">
            <a:extLst>
              <a:ext uri="{FF2B5EF4-FFF2-40B4-BE49-F238E27FC236}">
                <a16:creationId xmlns:a16="http://schemas.microsoft.com/office/drawing/2014/main" id="{057F4F0C-6CF7-441F-A77B-85B104203716}"/>
              </a:ext>
            </a:extLst>
          </p:cNvPr>
          <p:cNvSpPr txBox="1"/>
          <p:nvPr/>
        </p:nvSpPr>
        <p:spPr>
          <a:xfrm>
            <a:off x="588403" y="5946194"/>
            <a:ext cx="1085169"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Storage</a:t>
            </a:r>
          </a:p>
        </p:txBody>
      </p:sp>
      <p:pic>
        <p:nvPicPr>
          <p:cNvPr id="28" name="Picture 27">
            <a:extLst>
              <a:ext uri="{FF2B5EF4-FFF2-40B4-BE49-F238E27FC236}">
                <a16:creationId xmlns:a16="http://schemas.microsoft.com/office/drawing/2014/main" id="{8A3C6B13-ED02-4894-A220-4AF498D68A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51646" y="2439988"/>
            <a:ext cx="1277478" cy="1277478"/>
          </a:xfrm>
          <a:prstGeom prst="rect">
            <a:avLst/>
          </a:prstGeom>
        </p:spPr>
      </p:pic>
      <p:pic>
        <p:nvPicPr>
          <p:cNvPr id="29" name="Picture 28">
            <a:extLst>
              <a:ext uri="{FF2B5EF4-FFF2-40B4-BE49-F238E27FC236}">
                <a16:creationId xmlns:a16="http://schemas.microsoft.com/office/drawing/2014/main" id="{50FF0D79-EBF3-450D-AB27-83FCC18311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2711" y="5878023"/>
            <a:ext cx="1575348" cy="256790"/>
          </a:xfrm>
          <a:prstGeom prst="rect">
            <a:avLst/>
          </a:prstGeom>
        </p:spPr>
      </p:pic>
      <p:pic>
        <p:nvPicPr>
          <p:cNvPr id="30" name="Picture 29">
            <a:extLst>
              <a:ext uri="{FF2B5EF4-FFF2-40B4-BE49-F238E27FC236}">
                <a16:creationId xmlns:a16="http://schemas.microsoft.com/office/drawing/2014/main" id="{63A1B10A-6190-482B-AC41-49BD8BC3B5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27729" y="5077553"/>
            <a:ext cx="1525312" cy="176936"/>
          </a:xfrm>
          <a:prstGeom prst="rect">
            <a:avLst/>
          </a:prstGeom>
        </p:spPr>
      </p:pic>
      <p:pic>
        <p:nvPicPr>
          <p:cNvPr id="32" name="Picture 31">
            <a:extLst>
              <a:ext uri="{FF2B5EF4-FFF2-40B4-BE49-F238E27FC236}">
                <a16:creationId xmlns:a16="http://schemas.microsoft.com/office/drawing/2014/main" id="{1F5A9872-03F5-4C80-B1FF-A275495CA7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27729" y="4022162"/>
            <a:ext cx="1525312" cy="377092"/>
          </a:xfrm>
          <a:prstGeom prst="rect">
            <a:avLst/>
          </a:prstGeom>
        </p:spPr>
      </p:pic>
      <p:sp>
        <p:nvSpPr>
          <p:cNvPr id="60" name="TextBox 59">
            <a:extLst>
              <a:ext uri="{FF2B5EF4-FFF2-40B4-BE49-F238E27FC236}">
                <a16:creationId xmlns:a16="http://schemas.microsoft.com/office/drawing/2014/main" id="{B8BDD8A5-1044-4394-B4BD-015D410ECDE2}"/>
              </a:ext>
            </a:extLst>
          </p:cNvPr>
          <p:cNvSpPr txBox="1"/>
          <p:nvPr/>
        </p:nvSpPr>
        <p:spPr>
          <a:xfrm>
            <a:off x="6010672" y="5473925"/>
            <a:ext cx="2511722"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Co-located support with Red Hat on-site team</a:t>
            </a:r>
          </a:p>
        </p:txBody>
      </p:sp>
      <p:pic>
        <p:nvPicPr>
          <p:cNvPr id="65" name="Picture 64">
            <a:extLst>
              <a:ext uri="{FF2B5EF4-FFF2-40B4-BE49-F238E27FC236}">
                <a16:creationId xmlns:a16="http://schemas.microsoft.com/office/drawing/2014/main" id="{DB9615AC-58CA-431D-916A-42EA9D80C7F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93785" y="2856376"/>
            <a:ext cx="541526" cy="541526"/>
          </a:xfrm>
          <a:prstGeom prst="rect">
            <a:avLst/>
          </a:prstGeom>
        </p:spPr>
      </p:pic>
      <p:grpSp>
        <p:nvGrpSpPr>
          <p:cNvPr id="66" name="Group 65">
            <a:extLst>
              <a:ext uri="{FF2B5EF4-FFF2-40B4-BE49-F238E27FC236}">
                <a16:creationId xmlns:a16="http://schemas.microsoft.com/office/drawing/2014/main" id="{F0142B26-6E6C-45B2-942B-90D52C262352}"/>
              </a:ext>
            </a:extLst>
          </p:cNvPr>
          <p:cNvGrpSpPr/>
          <p:nvPr/>
        </p:nvGrpSpPr>
        <p:grpSpPr>
          <a:xfrm>
            <a:off x="5183915" y="5479806"/>
            <a:ext cx="560236" cy="750424"/>
            <a:chOff x="10259513" y="4304419"/>
            <a:chExt cx="1571326" cy="2017101"/>
          </a:xfrm>
        </p:grpSpPr>
        <p:pic>
          <p:nvPicPr>
            <p:cNvPr id="67" name="Picture 66">
              <a:extLst>
                <a:ext uri="{FF2B5EF4-FFF2-40B4-BE49-F238E27FC236}">
                  <a16:creationId xmlns:a16="http://schemas.microsoft.com/office/drawing/2014/main" id="{FBBF7B7D-E941-47EF-B8B5-4E47F383343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9505"/>
            <a:stretch/>
          </p:blipFill>
          <p:spPr>
            <a:xfrm>
              <a:off x="10402703" y="5605285"/>
              <a:ext cx="1284947" cy="716235"/>
            </a:xfrm>
            <a:prstGeom prst="rect">
              <a:avLst/>
            </a:prstGeom>
          </p:spPr>
        </p:pic>
        <p:pic>
          <p:nvPicPr>
            <p:cNvPr id="68" name="Picture 67">
              <a:extLst>
                <a:ext uri="{FF2B5EF4-FFF2-40B4-BE49-F238E27FC236}">
                  <a16:creationId xmlns:a16="http://schemas.microsoft.com/office/drawing/2014/main" id="{04EDD128-CFFE-497F-A803-9EAFA477E12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59513" y="4304419"/>
              <a:ext cx="1571326" cy="1571326"/>
            </a:xfrm>
            <a:prstGeom prst="rect">
              <a:avLst/>
            </a:prstGeom>
          </p:spPr>
        </p:pic>
      </p:grpSp>
      <p:sp>
        <p:nvSpPr>
          <p:cNvPr id="84" name="Rectangle 83">
            <a:extLst>
              <a:ext uri="{FF2B5EF4-FFF2-40B4-BE49-F238E27FC236}">
                <a16:creationId xmlns:a16="http://schemas.microsoft.com/office/drawing/2014/main" id="{88F2D6C3-2EAA-4ED3-B5C7-98FAD330F0E3}"/>
              </a:ext>
            </a:extLst>
          </p:cNvPr>
          <p:cNvSpPr/>
          <p:nvPr/>
        </p:nvSpPr>
        <p:spPr>
          <a:xfrm>
            <a:off x="9577848" y="2766304"/>
            <a:ext cx="312955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Unique hybrid experiences: Server + Azure </a:t>
            </a:r>
          </a:p>
        </p:txBody>
      </p:sp>
      <p:sp>
        <p:nvSpPr>
          <p:cNvPr id="9" name="Rectangle 8">
            <a:extLst>
              <a:ext uri="{FF2B5EF4-FFF2-40B4-BE49-F238E27FC236}">
                <a16:creationId xmlns:a16="http://schemas.microsoft.com/office/drawing/2014/main" id="{30A997D4-6AD3-4CD7-B00A-1192DA6AD4E0}"/>
              </a:ext>
            </a:extLst>
          </p:cNvPr>
          <p:cNvSpPr/>
          <p:nvPr/>
        </p:nvSpPr>
        <p:spPr>
          <a:xfrm>
            <a:off x="406270" y="1740875"/>
            <a:ext cx="1449435"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On-demand</a:t>
            </a:r>
            <a:endParaRPr kumimoji="0" lang="en-US" sz="1800" b="0" i="0" u="none" strike="noStrike" kern="1200" cap="none" spc="0" normalizeH="0" baseline="0" noProof="0">
              <a:ln>
                <a:noFill/>
              </a:ln>
              <a:effectLst/>
              <a:uLnTx/>
              <a:uFillTx/>
              <a:latin typeface="Segoe UI Semibold"/>
              <a:ea typeface="+mn-ea"/>
            </a:endParaRPr>
          </a:p>
        </p:txBody>
      </p:sp>
      <p:sp>
        <p:nvSpPr>
          <p:cNvPr id="45" name="Rectangle 44">
            <a:extLst>
              <a:ext uri="{FF2B5EF4-FFF2-40B4-BE49-F238E27FC236}">
                <a16:creationId xmlns:a16="http://schemas.microsoft.com/office/drawing/2014/main" id="{95DB9AB1-1530-465C-B470-2820A956596D}"/>
              </a:ext>
            </a:extLst>
          </p:cNvPr>
          <p:cNvSpPr/>
          <p:nvPr/>
        </p:nvSpPr>
        <p:spPr>
          <a:xfrm>
            <a:off x="2684716" y="1740875"/>
            <a:ext cx="161133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Purpose-built</a:t>
            </a:r>
          </a:p>
        </p:txBody>
      </p:sp>
      <p:sp>
        <p:nvSpPr>
          <p:cNvPr id="46" name="Rectangle 45">
            <a:extLst>
              <a:ext uri="{FF2B5EF4-FFF2-40B4-BE49-F238E27FC236}">
                <a16:creationId xmlns:a16="http://schemas.microsoft.com/office/drawing/2014/main" id="{6AEFC5B7-1402-43A1-9D03-A72EB62BF11D}"/>
              </a:ext>
            </a:extLst>
          </p:cNvPr>
          <p:cNvSpPr/>
          <p:nvPr/>
        </p:nvSpPr>
        <p:spPr>
          <a:xfrm>
            <a:off x="4731388" y="1740875"/>
            <a:ext cx="3914028"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Linux, Open Source, and Red Hat</a:t>
            </a:r>
          </a:p>
        </p:txBody>
      </p:sp>
      <p:sp>
        <p:nvSpPr>
          <p:cNvPr id="47" name="Rectangle 46">
            <a:extLst>
              <a:ext uri="{FF2B5EF4-FFF2-40B4-BE49-F238E27FC236}">
                <a16:creationId xmlns:a16="http://schemas.microsoft.com/office/drawing/2014/main" id="{DFCAAEC0-1E2C-426B-9FC2-2B8738EF7990}"/>
              </a:ext>
            </a:extLst>
          </p:cNvPr>
          <p:cNvSpPr/>
          <p:nvPr/>
        </p:nvSpPr>
        <p:spPr>
          <a:xfrm>
            <a:off x="8621147" y="1740875"/>
            <a:ext cx="357638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uLnTx/>
                <a:uFillTx/>
                <a:latin typeface="Segoe UI Semibold"/>
                <a:ea typeface="+mn-ea"/>
                <a:cs typeface="Segoe UI Semibold" panose="020B0702040204020203" pitchFamily="34" charset="0"/>
              </a:rPr>
              <a:t>Best for Microsoft workloads</a:t>
            </a:r>
          </a:p>
        </p:txBody>
      </p:sp>
      <p:sp>
        <p:nvSpPr>
          <p:cNvPr id="15" name="Rectangle 14">
            <a:extLst>
              <a:ext uri="{FF2B5EF4-FFF2-40B4-BE49-F238E27FC236}">
                <a16:creationId xmlns:a16="http://schemas.microsoft.com/office/drawing/2014/main" id="{FC1791CD-327A-47AE-A518-9B33CD4AFFB4}"/>
              </a:ext>
            </a:extLst>
          </p:cNvPr>
          <p:cNvSpPr/>
          <p:nvPr/>
        </p:nvSpPr>
        <p:spPr>
          <a:xfrm>
            <a:off x="6010672" y="3209223"/>
            <a:ext cx="2229090" cy="535531"/>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of Azure VMs are running Linux</a:t>
            </a:r>
          </a:p>
        </p:txBody>
      </p:sp>
      <p:sp>
        <p:nvSpPr>
          <p:cNvPr id="16" name="Rectangle 15">
            <a:extLst>
              <a:ext uri="{FF2B5EF4-FFF2-40B4-BE49-F238E27FC236}">
                <a16:creationId xmlns:a16="http://schemas.microsoft.com/office/drawing/2014/main" id="{61C48584-50A8-4CD9-AA79-1FEE64FF07D7}"/>
              </a:ext>
            </a:extLst>
          </p:cNvPr>
          <p:cNvSpPr/>
          <p:nvPr/>
        </p:nvSpPr>
        <p:spPr>
          <a:xfrm>
            <a:off x="6010672" y="4108656"/>
            <a:ext cx="1066318" cy="646331"/>
          </a:xfrm>
          <a:prstGeom prst="rect">
            <a:avLst/>
          </a:prstGeom>
        </p:spPr>
        <p:txBody>
          <a:bodyPr wrap="none">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40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1.4x</a:t>
            </a:r>
            <a:endParaRPr kumimoji="0" lang="en-GB" sz="24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endParaRPr>
          </a:p>
        </p:txBody>
      </p:sp>
      <p:sp>
        <p:nvSpPr>
          <p:cNvPr id="17" name="Rectangle 16">
            <a:extLst>
              <a:ext uri="{FF2B5EF4-FFF2-40B4-BE49-F238E27FC236}">
                <a16:creationId xmlns:a16="http://schemas.microsoft.com/office/drawing/2014/main" id="{D16A6979-0610-4EAB-8E9B-3927C40E0DB9}"/>
              </a:ext>
            </a:extLst>
          </p:cNvPr>
          <p:cNvSpPr/>
          <p:nvPr/>
        </p:nvSpPr>
        <p:spPr>
          <a:xfrm>
            <a:off x="5971355" y="2606640"/>
            <a:ext cx="1693092"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a:ln>
                  <a:noFill/>
                </a:ln>
                <a:solidFill>
                  <a:schemeClr val="accent1"/>
                </a:solidFill>
                <a:effectLst/>
                <a:uLnTx/>
                <a:uFillTx/>
                <a:latin typeface="Segoe UI Semibold"/>
                <a:ea typeface="+mn-ea"/>
                <a:cs typeface="Segoe UI Semibold" panose="020B0702040204020203" pitchFamily="34" charset="0"/>
              </a:rPr>
              <a:t>+40% </a:t>
            </a:r>
            <a:endParaRPr kumimoji="0" lang="en-US" sz="4000" b="0" i="0" u="none" strike="noStrike" kern="1200" cap="none" spc="0" normalizeH="0" baseline="0" noProof="0">
              <a:ln>
                <a:noFill/>
              </a:ln>
              <a:solidFill>
                <a:schemeClr val="accent1"/>
              </a:solidFill>
              <a:effectLst/>
              <a:uLnTx/>
              <a:uFillTx/>
              <a:latin typeface="Segoe UI Semibold"/>
              <a:ea typeface="+mn-ea"/>
            </a:endParaRPr>
          </a:p>
        </p:txBody>
      </p:sp>
      <p:sp>
        <p:nvSpPr>
          <p:cNvPr id="18" name="Rectangle 17">
            <a:extLst>
              <a:ext uri="{FF2B5EF4-FFF2-40B4-BE49-F238E27FC236}">
                <a16:creationId xmlns:a16="http://schemas.microsoft.com/office/drawing/2014/main" id="{BA988E46-39DE-49EE-8E68-E930E113D406}"/>
              </a:ext>
            </a:extLst>
          </p:cNvPr>
          <p:cNvSpPr/>
          <p:nvPr/>
        </p:nvSpPr>
        <p:spPr>
          <a:xfrm>
            <a:off x="6060989" y="4588021"/>
            <a:ext cx="1651029"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growth of Linux</a:t>
            </a:r>
            <a:endParaRPr kumimoji="0" lang="en-US" sz="1600" b="0" i="0" u="none" strike="noStrike" kern="1200" cap="none" spc="0" normalizeH="0" baseline="0" noProof="0">
              <a:ln>
                <a:noFill/>
              </a:ln>
              <a:solidFill>
                <a:schemeClr val="accent1"/>
              </a:solidFill>
              <a:effectLst/>
              <a:uLnTx/>
              <a:uFillTx/>
              <a:latin typeface="Segoe UI"/>
              <a:ea typeface="+mn-ea"/>
            </a:endParaRPr>
          </a:p>
        </p:txBody>
      </p:sp>
      <p:sp>
        <p:nvSpPr>
          <p:cNvPr id="49" name="Market_EAFC" title="Icon of a line graph with an arrow at the end pointing up">
            <a:extLst>
              <a:ext uri="{FF2B5EF4-FFF2-40B4-BE49-F238E27FC236}">
                <a16:creationId xmlns:a16="http://schemas.microsoft.com/office/drawing/2014/main" id="{DC7B8E47-6790-4EDA-99F4-D411ECE2E431}"/>
              </a:ext>
            </a:extLst>
          </p:cNvPr>
          <p:cNvSpPr>
            <a:spLocks noChangeAspect="1" noEditPoints="1"/>
          </p:cNvSpPr>
          <p:nvPr/>
        </p:nvSpPr>
        <p:spPr bwMode="auto">
          <a:xfrm>
            <a:off x="5186058" y="4431579"/>
            <a:ext cx="457570" cy="277485"/>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accent1"/>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76E5E887-F3BE-4A9D-94EB-1DB7165BA3E5}"/>
              </a:ext>
            </a:extLst>
          </p:cNvPr>
          <p:cNvGrpSpPr/>
          <p:nvPr/>
        </p:nvGrpSpPr>
        <p:grpSpPr>
          <a:xfrm>
            <a:off x="2302983" y="1074120"/>
            <a:ext cx="6318164" cy="5549078"/>
            <a:chOff x="2296633" y="1283674"/>
            <a:chExt cx="6318164" cy="5149024"/>
          </a:xfrm>
        </p:grpSpPr>
        <p:grpSp>
          <p:nvGrpSpPr>
            <p:cNvPr id="7" name="Group 6">
              <a:extLst>
                <a:ext uri="{FF2B5EF4-FFF2-40B4-BE49-F238E27FC236}">
                  <a16:creationId xmlns:a16="http://schemas.microsoft.com/office/drawing/2014/main" id="{54970B60-83BE-44F8-BFD3-5FDACE2F81CC}"/>
                </a:ext>
              </a:extLst>
            </p:cNvPr>
            <p:cNvGrpSpPr/>
            <p:nvPr/>
          </p:nvGrpSpPr>
          <p:grpSpPr>
            <a:xfrm>
              <a:off x="2296633" y="1298146"/>
              <a:ext cx="2405049" cy="5134552"/>
              <a:chOff x="2296633" y="1298146"/>
              <a:chExt cx="2405049" cy="4507023"/>
            </a:xfrm>
          </p:grpSpPr>
          <p:cxnSp>
            <p:nvCxnSpPr>
              <p:cNvPr id="3" name="Straight Connector 2">
                <a:extLst>
                  <a:ext uri="{FF2B5EF4-FFF2-40B4-BE49-F238E27FC236}">
                    <a16:creationId xmlns:a16="http://schemas.microsoft.com/office/drawing/2014/main" id="{6DD25FB0-536D-4D49-8ACB-823AD98AD19F}"/>
                  </a:ext>
                </a:extLst>
              </p:cNvPr>
              <p:cNvCxnSpPr>
                <a:cxnSpLocks/>
              </p:cNvCxnSpPr>
              <p:nvPr/>
            </p:nvCxnSpPr>
            <p:spPr>
              <a:xfrm>
                <a:off x="2296633" y="1298146"/>
                <a:ext cx="0" cy="4484633"/>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1CDBB90-8C95-4069-B5BF-3009951E3825}"/>
                  </a:ext>
                </a:extLst>
              </p:cNvPr>
              <p:cNvCxnSpPr>
                <a:cxnSpLocks/>
              </p:cNvCxnSpPr>
              <p:nvPr/>
            </p:nvCxnSpPr>
            <p:spPr>
              <a:xfrm>
                <a:off x="4701682" y="1320536"/>
                <a:ext cx="0" cy="4484633"/>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59" name="Straight Connector 58">
              <a:extLst>
                <a:ext uri="{FF2B5EF4-FFF2-40B4-BE49-F238E27FC236}">
                  <a16:creationId xmlns:a16="http://schemas.microsoft.com/office/drawing/2014/main" id="{706866E4-9FE7-4826-8B3C-D11C62DDDCF9}"/>
                </a:ext>
              </a:extLst>
            </p:cNvPr>
            <p:cNvCxnSpPr>
              <a:cxnSpLocks/>
            </p:cNvCxnSpPr>
            <p:nvPr/>
          </p:nvCxnSpPr>
          <p:spPr>
            <a:xfrm>
              <a:off x="8614797" y="1283674"/>
              <a:ext cx="0" cy="5109045"/>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A0D5B02-696B-41A7-BC8B-0EE2082E0A87}"/>
              </a:ext>
            </a:extLst>
          </p:cNvPr>
          <p:cNvSpPr>
            <a:spLocks noGrp="1"/>
          </p:cNvSpPr>
          <p:nvPr>
            <p:ph type="title"/>
          </p:nvPr>
        </p:nvSpPr>
        <p:spPr>
          <a:xfrm>
            <a:off x="273169" y="385293"/>
            <a:ext cx="12830465" cy="594360"/>
          </a:xfrm>
        </p:spPr>
        <p:txBody>
          <a:bodyPr>
            <a:normAutofit fontScale="90000"/>
          </a:bodyPr>
          <a:lstStyle/>
          <a:p>
            <a:pPr algn="l"/>
            <a:r>
              <a:rPr lang="en-US">
                <a:solidFill>
                  <a:schemeClr val="tx1"/>
                </a:solidFill>
              </a:rPr>
              <a:t>Reliable infrastructure to rehost any workload</a:t>
            </a:r>
          </a:p>
        </p:txBody>
      </p:sp>
      <p:sp>
        <p:nvSpPr>
          <p:cNvPr id="4" name="Rectangle 3">
            <a:extLst>
              <a:ext uri="{FF2B5EF4-FFF2-40B4-BE49-F238E27FC236}">
                <a16:creationId xmlns:a16="http://schemas.microsoft.com/office/drawing/2014/main" id="{44ADFB1F-BB1F-4E80-8D8D-AD64673BF995}"/>
              </a:ext>
            </a:extLst>
          </p:cNvPr>
          <p:cNvSpPr/>
          <p:nvPr/>
        </p:nvSpPr>
        <p:spPr>
          <a:xfrm>
            <a:off x="9609067" y="4007176"/>
            <a:ext cx="2621838" cy="83099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accent1"/>
                </a:solidFill>
                <a:effectLst/>
                <a:uLnTx/>
                <a:uFillTx/>
                <a:latin typeface="Segoe UI Semibold"/>
                <a:ea typeface="+mn-ea"/>
                <a:cs typeface="Segoe UI" panose="020B0502040204020203" pitchFamily="34" charset="0"/>
              </a:rPr>
              <a:t>Unparalleled consistency &amp; innovation:  Azure SQL DB Managed Instance</a:t>
            </a:r>
            <a:endParaRPr kumimoji="0" lang="en-US" sz="1765" b="0" i="0" u="none" strike="noStrike" kern="1200" cap="none" spc="0" normalizeH="0" baseline="0" noProof="0">
              <a:ln>
                <a:noFill/>
              </a:ln>
              <a:solidFill>
                <a:schemeClr val="accent1"/>
              </a:solidFill>
              <a:effectLst/>
              <a:uLnTx/>
              <a:uFillTx/>
              <a:latin typeface="Segoe UI"/>
              <a:ea typeface="+mn-ea"/>
            </a:endParaRPr>
          </a:p>
        </p:txBody>
      </p:sp>
      <p:sp>
        <p:nvSpPr>
          <p:cNvPr id="53" name="Rectangle 52">
            <a:extLst>
              <a:ext uri="{FF2B5EF4-FFF2-40B4-BE49-F238E27FC236}">
                <a16:creationId xmlns:a16="http://schemas.microsoft.com/office/drawing/2014/main" id="{54379341-F368-47D5-A2D8-5697F5D4CDCD}"/>
              </a:ext>
            </a:extLst>
          </p:cNvPr>
          <p:cNvSpPr/>
          <p:nvPr/>
        </p:nvSpPr>
        <p:spPr>
          <a:xfrm>
            <a:off x="9609067" y="5531408"/>
            <a:ext cx="3129543" cy="33855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accent1"/>
                </a:solidFill>
                <a:effectLst/>
                <a:uLnTx/>
                <a:uFillTx/>
                <a:latin typeface="Segoe UI Semibold"/>
                <a:ea typeface="+mn-ea"/>
                <a:cs typeface="Segoe UI" panose="020B0502040204020203" pitchFamily="34" charset="0"/>
              </a:rPr>
              <a:t>Deep trust with enterprises</a:t>
            </a:r>
            <a:endParaRPr kumimoji="0" lang="en-US" sz="1765" b="0" i="0" u="none" strike="noStrike" kern="1200" cap="none" spc="0" normalizeH="0" baseline="0" noProof="0">
              <a:ln>
                <a:noFill/>
              </a:ln>
              <a:solidFill>
                <a:schemeClr val="accent1"/>
              </a:solidFill>
              <a:effectLst/>
              <a:uLnTx/>
              <a:uFillTx/>
              <a:latin typeface="Segoe UI"/>
              <a:ea typeface="+mn-ea"/>
            </a:endParaRPr>
          </a:p>
        </p:txBody>
      </p:sp>
      <p:sp>
        <p:nvSpPr>
          <p:cNvPr id="56" name="Commitments_EC4D">
            <a:extLst>
              <a:ext uri="{FF2B5EF4-FFF2-40B4-BE49-F238E27FC236}">
                <a16:creationId xmlns:a16="http://schemas.microsoft.com/office/drawing/2014/main" id="{C293B7F7-3228-4F74-9BB1-2D47FBD0CF25}"/>
              </a:ext>
            </a:extLst>
          </p:cNvPr>
          <p:cNvSpPr>
            <a:spLocks noChangeAspect="1" noEditPoints="1"/>
          </p:cNvSpPr>
          <p:nvPr/>
        </p:nvSpPr>
        <p:spPr bwMode="auto">
          <a:xfrm>
            <a:off x="8813461" y="5430716"/>
            <a:ext cx="675828" cy="63367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25400" cap="sq">
            <a:solidFill>
              <a:srgbClr val="F140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Semilight"/>
              <a:ea typeface="+mn-ea"/>
              <a:cs typeface="+mn-cs"/>
            </a:endParaRPr>
          </a:p>
        </p:txBody>
      </p:sp>
      <p:sp>
        <p:nvSpPr>
          <p:cNvPr id="58" name="strategy" title="Icon of two circles and a curved arrow winding between three exes connecting them">
            <a:extLst>
              <a:ext uri="{FF2B5EF4-FFF2-40B4-BE49-F238E27FC236}">
                <a16:creationId xmlns:a16="http://schemas.microsoft.com/office/drawing/2014/main" id="{A7010801-EFD3-4087-908E-D55D135572A5}"/>
              </a:ext>
            </a:extLst>
          </p:cNvPr>
          <p:cNvSpPr>
            <a:spLocks noChangeAspect="1" noEditPoints="1"/>
          </p:cNvSpPr>
          <p:nvPr/>
        </p:nvSpPr>
        <p:spPr bwMode="auto">
          <a:xfrm>
            <a:off x="8880237" y="2784553"/>
            <a:ext cx="475614" cy="633672"/>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5400" cap="flat">
            <a:solidFill>
              <a:srgbClr val="F1400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Segoe UI Semilight"/>
              <a:ea typeface="+mn-ea"/>
              <a:cs typeface="+mn-cs"/>
            </a:endParaRPr>
          </a:p>
        </p:txBody>
      </p:sp>
      <p:pic>
        <p:nvPicPr>
          <p:cNvPr id="63" name="Graphic 62">
            <a:extLst>
              <a:ext uri="{FF2B5EF4-FFF2-40B4-BE49-F238E27FC236}">
                <a16:creationId xmlns:a16="http://schemas.microsoft.com/office/drawing/2014/main" id="{EB585A31-A2DB-44B9-AC7D-D883D5433AD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99311" y="4108656"/>
            <a:ext cx="504128" cy="673072"/>
          </a:xfrm>
          <a:prstGeom prst="rect">
            <a:avLst/>
          </a:prstGeom>
        </p:spPr>
      </p:pic>
      <p:sp>
        <p:nvSpPr>
          <p:cNvPr id="38" name="TextBox 37">
            <a:extLst>
              <a:ext uri="{FF2B5EF4-FFF2-40B4-BE49-F238E27FC236}">
                <a16:creationId xmlns:a16="http://schemas.microsoft.com/office/drawing/2014/main" id="{C47CB5CB-9D74-43FE-B499-9F65E2AB1CE8}"/>
              </a:ext>
            </a:extLst>
          </p:cNvPr>
          <p:cNvSpPr txBox="1"/>
          <p:nvPr/>
        </p:nvSpPr>
        <p:spPr>
          <a:xfrm>
            <a:off x="173432" y="6134813"/>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34231633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FEB8-873C-45D4-9E95-9BCD0D93F1DA}"/>
              </a:ext>
            </a:extLst>
          </p:cNvPr>
          <p:cNvSpPr>
            <a:spLocks noGrp="1"/>
          </p:cNvSpPr>
          <p:nvPr>
            <p:ph type="title"/>
          </p:nvPr>
        </p:nvSpPr>
        <p:spPr>
          <a:xfrm>
            <a:off x="457201" y="2819602"/>
            <a:ext cx="9306232" cy="609398"/>
          </a:xfrm>
        </p:spPr>
        <p:txBody>
          <a:bodyPr/>
          <a:lstStyle/>
          <a:p>
            <a:r>
              <a:rPr lang="en-US"/>
              <a:t>Azure migration journey and tools</a:t>
            </a:r>
          </a:p>
        </p:txBody>
      </p:sp>
      <p:sp>
        <p:nvSpPr>
          <p:cNvPr id="3" name="TextBox 2">
            <a:extLst>
              <a:ext uri="{FF2B5EF4-FFF2-40B4-BE49-F238E27FC236}">
                <a16:creationId xmlns:a16="http://schemas.microsoft.com/office/drawing/2014/main" id="{78C0C671-E345-46F1-A4A8-437048BDA89E}"/>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9586281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18E2271-4389-4664-A494-AA944C3BFD9F}"/>
              </a:ext>
            </a:extLst>
          </p:cNvPr>
          <p:cNvSpPr/>
          <p:nvPr/>
        </p:nvSpPr>
        <p:spPr bwMode="auto">
          <a:xfrm>
            <a:off x="805405" y="1712622"/>
            <a:ext cx="10439620" cy="3363050"/>
          </a:xfrm>
          <a:prstGeom prst="rect">
            <a:avLst/>
          </a:prstGeom>
          <a:solidFill>
            <a:schemeClr val="bg1"/>
          </a:solidFill>
          <a:ln w="19050" cap="flat" cmpd="sng" algn="ctr">
            <a:solidFill>
              <a:schemeClr val="accent6"/>
            </a:solidFill>
            <a:prstDash val="solid"/>
            <a:headEnd type="none"/>
            <a:tailEnd type="none"/>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Box 2">
            <a:extLst>
              <a:ext uri="{FF2B5EF4-FFF2-40B4-BE49-F238E27FC236}">
                <a16:creationId xmlns:a16="http://schemas.microsoft.com/office/drawing/2014/main" id="{EE4166F5-6FD5-4FB0-B06E-3E3C638CC34A}"/>
              </a:ext>
            </a:extLst>
          </p:cNvPr>
          <p:cNvSpPr txBox="1"/>
          <p:nvPr/>
        </p:nvSpPr>
        <p:spPr>
          <a:xfrm>
            <a:off x="1181406" y="3414137"/>
            <a:ext cx="90980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ssess </a:t>
            </a:r>
          </a:p>
        </p:txBody>
      </p:sp>
      <p:sp>
        <p:nvSpPr>
          <p:cNvPr id="7" name="TextBox 6">
            <a:extLst>
              <a:ext uri="{FF2B5EF4-FFF2-40B4-BE49-F238E27FC236}">
                <a16:creationId xmlns:a16="http://schemas.microsoft.com/office/drawing/2014/main" id="{A5DC58D0-F4F5-4687-9301-F1D51111FD5F}"/>
              </a:ext>
            </a:extLst>
          </p:cNvPr>
          <p:cNvSpPr txBox="1"/>
          <p:nvPr/>
        </p:nvSpPr>
        <p:spPr>
          <a:xfrm>
            <a:off x="2918638" y="3408951"/>
            <a:ext cx="229282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grate </a:t>
            </a:r>
          </a:p>
        </p:txBody>
      </p:sp>
      <p:sp>
        <p:nvSpPr>
          <p:cNvPr id="9" name="TextBox 8">
            <a:extLst>
              <a:ext uri="{FF2B5EF4-FFF2-40B4-BE49-F238E27FC236}">
                <a16:creationId xmlns:a16="http://schemas.microsoft.com/office/drawing/2014/main" id="{F5391F1D-94FF-47C8-BF97-C5D784D850B6}"/>
              </a:ext>
            </a:extLst>
          </p:cNvPr>
          <p:cNvSpPr txBox="1"/>
          <p:nvPr/>
        </p:nvSpPr>
        <p:spPr>
          <a:xfrm>
            <a:off x="5613144" y="3414137"/>
            <a:ext cx="234368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ptimize </a:t>
            </a:r>
          </a:p>
        </p:txBody>
      </p:sp>
      <p:sp>
        <p:nvSpPr>
          <p:cNvPr id="11" name="TextBox 10">
            <a:extLst>
              <a:ext uri="{FF2B5EF4-FFF2-40B4-BE49-F238E27FC236}">
                <a16:creationId xmlns:a16="http://schemas.microsoft.com/office/drawing/2014/main" id="{8143B1BF-5CC2-4E4F-BFE6-4A5409A7573C}"/>
              </a:ext>
            </a:extLst>
          </p:cNvPr>
          <p:cNvSpPr txBox="1"/>
          <p:nvPr/>
        </p:nvSpPr>
        <p:spPr>
          <a:xfrm>
            <a:off x="8881338" y="3414137"/>
            <a:ext cx="218390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and manage</a:t>
            </a:r>
          </a:p>
        </p:txBody>
      </p:sp>
      <p:sp>
        <p:nvSpPr>
          <p:cNvPr id="18" name="Rectangle 17">
            <a:extLst>
              <a:ext uri="{FF2B5EF4-FFF2-40B4-BE49-F238E27FC236}">
                <a16:creationId xmlns:a16="http://schemas.microsoft.com/office/drawing/2014/main" id="{CA46B33D-4CDC-414E-AC78-54FB52B87FE3}"/>
              </a:ext>
            </a:extLst>
          </p:cNvPr>
          <p:cNvSpPr/>
          <p:nvPr/>
        </p:nvSpPr>
        <p:spPr bwMode="auto">
          <a:xfrm>
            <a:off x="649501" y="5442724"/>
            <a:ext cx="10751428" cy="6254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spcAft>
                <a:spcPts val="1200"/>
              </a:spcAft>
              <a:buClrTx/>
              <a:buSzPct val="90000"/>
              <a:buFontTx/>
              <a:buNone/>
              <a:tabLst/>
              <a:defRPr/>
            </a:pPr>
            <a:r>
              <a:rPr kumimoji="0" lang="en-US" sz="24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Fundamentals</a:t>
            </a:r>
          </a:p>
          <a:p>
            <a:pPr marL="0" marR="0" lvl="0" indent="0" algn="ctr" defTabSz="932742" rtl="0" eaLnBrk="1" fontAlgn="base" latinLnBrk="0" hangingPunct="1">
              <a:lnSpc>
                <a:spcPct val="90000"/>
              </a:lnSpc>
              <a:spcBef>
                <a:spcPct val="0"/>
              </a:spcBef>
              <a:buClrTx/>
              <a:buSzPct val="90000"/>
              <a:buFontTx/>
              <a:buNone/>
              <a:tabLst/>
              <a:defRPr/>
            </a:pPr>
            <a:r>
              <a:rPr lang="en-US" sz="2000">
                <a:ln w="3175">
                  <a:noFill/>
                </a:ln>
                <a:gradFill>
                  <a:gsLst>
                    <a:gs pos="1250">
                      <a:srgbClr val="1A1A1A"/>
                    </a:gs>
                    <a:gs pos="100000">
                      <a:srgbClr val="1A1A1A"/>
                    </a:gs>
                  </a:gsLst>
                  <a:lin ang="5400000" scaled="0"/>
                </a:gradFill>
                <a:latin typeface="Segoe UI"/>
                <a:cs typeface="Segoe UI Semilight" panose="020B0402040204020203" pitchFamily="34" charset="0"/>
              </a:rPr>
              <a:t>Target architecture | Governance | Connectivity | Security | Training &amp; Readiness</a:t>
            </a:r>
            <a:endParaRPr kumimoji="0" lang="en-US" sz="200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a:p>
            <a:pPr marL="0" marR="0" lvl="0" indent="0" algn="ctr" defTabSz="932742" rtl="0" eaLnBrk="1" fontAlgn="base" latinLnBrk="0" hangingPunct="1">
              <a:lnSpc>
                <a:spcPct val="90000"/>
              </a:lnSpc>
              <a:spcBef>
                <a:spcPct val="0"/>
              </a:spcBef>
              <a:spcAft>
                <a:spcPts val="1200"/>
              </a:spcAft>
              <a:buClrTx/>
              <a:buSzPct val="90000"/>
              <a:buFontTx/>
              <a:buNone/>
              <a:tabLst/>
              <a:defRPr/>
            </a:pPr>
            <a:endParaRPr kumimoji="0" lang="en-US" sz="24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a:p>
            <a:pPr marL="0" marR="0" lvl="0" indent="0" algn="ctr" defTabSz="932742" rtl="0" eaLnBrk="1" fontAlgn="base" latinLnBrk="0" hangingPunct="1">
              <a:lnSpc>
                <a:spcPct val="90000"/>
              </a:lnSpc>
              <a:spcBef>
                <a:spcPct val="0"/>
              </a:spcBef>
              <a:spcAft>
                <a:spcPts val="1200"/>
              </a:spcAft>
              <a:buClrTx/>
              <a:buSzPct val="90000"/>
              <a:buFontTx/>
              <a:buNone/>
              <a:tabLst/>
              <a:defRPr/>
            </a:pPr>
            <a:r>
              <a:rPr kumimoji="0" lang="en-US" sz="24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a:t>
            </a:r>
            <a:endParaRPr kumimoji="0" lang="en-US" sz="2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sp>
        <p:nvSpPr>
          <p:cNvPr id="22" name="Rectangle 21">
            <a:extLst>
              <a:ext uri="{FF2B5EF4-FFF2-40B4-BE49-F238E27FC236}">
                <a16:creationId xmlns:a16="http://schemas.microsoft.com/office/drawing/2014/main" id="{619DC391-1656-4743-B696-050622CFEB85}"/>
              </a:ext>
            </a:extLst>
          </p:cNvPr>
          <p:cNvSpPr/>
          <p:nvPr/>
        </p:nvSpPr>
        <p:spPr>
          <a:xfrm>
            <a:off x="900408" y="4365719"/>
            <a:ext cx="10164834" cy="3139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Migration tools | Azure </a:t>
            </a: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panose="020B0502040204020203" pitchFamily="34" charset="0"/>
              </a:rPr>
              <a:t>migration</a:t>
            </a: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 center | Scenario guidance | FastTrack for Azure | Azure Expert MSPs</a:t>
            </a:r>
            <a:endParaRPr kumimoji="0" lang="en-US" sz="16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mn-cs"/>
            </a:endParaRPr>
          </a:p>
        </p:txBody>
      </p:sp>
      <p:sp>
        <p:nvSpPr>
          <p:cNvPr id="24" name="Arrow: Chevron 23">
            <a:extLst>
              <a:ext uri="{FF2B5EF4-FFF2-40B4-BE49-F238E27FC236}">
                <a16:creationId xmlns:a16="http://schemas.microsoft.com/office/drawing/2014/main" id="{1A81657E-F440-424D-8BBA-EE1198BC398D}"/>
              </a:ext>
            </a:extLst>
          </p:cNvPr>
          <p:cNvSpPr/>
          <p:nvPr/>
        </p:nvSpPr>
        <p:spPr bwMode="auto">
          <a:xfrm>
            <a:off x="2608231" y="2889603"/>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Arrow: Chevron 24">
            <a:extLst>
              <a:ext uri="{FF2B5EF4-FFF2-40B4-BE49-F238E27FC236}">
                <a16:creationId xmlns:a16="http://schemas.microsoft.com/office/drawing/2014/main" id="{2BDD9487-9704-4058-AEA2-041AE80F504D}"/>
              </a:ext>
            </a:extLst>
          </p:cNvPr>
          <p:cNvSpPr/>
          <p:nvPr/>
        </p:nvSpPr>
        <p:spPr bwMode="auto">
          <a:xfrm>
            <a:off x="5510550" y="2890371"/>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 name="Title 12">
            <a:extLst>
              <a:ext uri="{FF2B5EF4-FFF2-40B4-BE49-F238E27FC236}">
                <a16:creationId xmlns:a16="http://schemas.microsoft.com/office/drawing/2014/main" id="{658ECA18-9ECC-45C0-B739-A7FCCD851A90}"/>
              </a:ext>
            </a:extLst>
          </p:cNvPr>
          <p:cNvSpPr>
            <a:spLocks noGrp="1"/>
          </p:cNvSpPr>
          <p:nvPr>
            <p:ph type="title"/>
          </p:nvPr>
        </p:nvSpPr>
        <p:spPr/>
        <p:txBody>
          <a:bodyPr/>
          <a:lstStyle/>
          <a:p>
            <a:r>
              <a:rPr lang="en-US"/>
              <a:t>Unified and extensible Azure migration experience</a:t>
            </a:r>
            <a:br>
              <a:rPr lang="en-US"/>
            </a:br>
            <a:endParaRPr lang="en-US"/>
          </a:p>
        </p:txBody>
      </p:sp>
      <p:grpSp>
        <p:nvGrpSpPr>
          <p:cNvPr id="26" name="Group 100">
            <a:extLst>
              <a:ext uri="{FF2B5EF4-FFF2-40B4-BE49-F238E27FC236}">
                <a16:creationId xmlns:a16="http://schemas.microsoft.com/office/drawing/2014/main" id="{4AB39FF5-D83C-4214-886C-7D03F0BD9F92}"/>
              </a:ext>
            </a:extLst>
          </p:cNvPr>
          <p:cNvGrpSpPr>
            <a:grpSpLocks noChangeAspect="1"/>
          </p:cNvGrpSpPr>
          <p:nvPr/>
        </p:nvGrpSpPr>
        <p:grpSpPr bwMode="auto">
          <a:xfrm>
            <a:off x="1201503" y="2688450"/>
            <a:ext cx="715323" cy="712615"/>
            <a:chOff x="1887" y="3001"/>
            <a:chExt cx="264" cy="263"/>
          </a:xfrm>
          <a:solidFill>
            <a:schemeClr val="accent1"/>
          </a:solidFill>
        </p:grpSpPr>
        <p:sp>
          <p:nvSpPr>
            <p:cNvPr id="27" name="Freeform 101">
              <a:extLst>
                <a:ext uri="{FF2B5EF4-FFF2-40B4-BE49-F238E27FC236}">
                  <a16:creationId xmlns:a16="http://schemas.microsoft.com/office/drawing/2014/main" id="{D8D116FE-2892-4E69-9995-502520B85280}"/>
                </a:ext>
              </a:extLst>
            </p:cNvPr>
            <p:cNvSpPr>
              <a:spLocks/>
            </p:cNvSpPr>
            <p:nvPr/>
          </p:nvSpPr>
          <p:spPr bwMode="auto">
            <a:xfrm>
              <a:off x="1970" y="3001"/>
              <a:ext cx="181" cy="181"/>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102">
              <a:extLst>
                <a:ext uri="{FF2B5EF4-FFF2-40B4-BE49-F238E27FC236}">
                  <a16:creationId xmlns:a16="http://schemas.microsoft.com/office/drawing/2014/main" id="{0098EC04-644B-444F-930C-1FF01AD0C4F8}"/>
                </a:ext>
              </a:extLst>
            </p:cNvPr>
            <p:cNvSpPr>
              <a:spLocks/>
            </p:cNvSpPr>
            <p:nvPr/>
          </p:nvSpPr>
          <p:spPr bwMode="auto">
            <a:xfrm>
              <a:off x="1887" y="3149"/>
              <a:ext cx="115" cy="115"/>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103">
              <a:extLst>
                <a:ext uri="{FF2B5EF4-FFF2-40B4-BE49-F238E27FC236}">
                  <a16:creationId xmlns:a16="http://schemas.microsoft.com/office/drawing/2014/main" id="{F3955F60-A08A-4871-B1D5-947099732FFB}"/>
                </a:ext>
              </a:extLst>
            </p:cNvPr>
            <p:cNvSpPr>
              <a:spLocks/>
            </p:cNvSpPr>
            <p:nvPr/>
          </p:nvSpPr>
          <p:spPr bwMode="auto">
            <a:xfrm>
              <a:off x="1986" y="3017"/>
              <a:ext cx="149" cy="149"/>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38BBBDC2-B421-49C9-A756-B7F4C6E602E3}"/>
              </a:ext>
            </a:extLst>
          </p:cNvPr>
          <p:cNvGrpSpPr/>
          <p:nvPr/>
        </p:nvGrpSpPr>
        <p:grpSpPr>
          <a:xfrm>
            <a:off x="6449557" y="2620338"/>
            <a:ext cx="670854" cy="552466"/>
            <a:chOff x="10082121" y="5760490"/>
            <a:chExt cx="536745" cy="442025"/>
          </a:xfrm>
        </p:grpSpPr>
        <p:sp>
          <p:nvSpPr>
            <p:cNvPr id="31" name="Freeform 1403">
              <a:extLst>
                <a:ext uri="{FF2B5EF4-FFF2-40B4-BE49-F238E27FC236}">
                  <a16:creationId xmlns:a16="http://schemas.microsoft.com/office/drawing/2014/main" id="{4C590016-7010-4B81-A9DD-4F5A97B3AB26}"/>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1404">
              <a:extLst>
                <a:ext uri="{FF2B5EF4-FFF2-40B4-BE49-F238E27FC236}">
                  <a16:creationId xmlns:a16="http://schemas.microsoft.com/office/drawing/2014/main" id="{68468003-F50B-4404-83B5-C7B65CB4B595}"/>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1405">
              <a:extLst>
                <a:ext uri="{FF2B5EF4-FFF2-40B4-BE49-F238E27FC236}">
                  <a16:creationId xmlns:a16="http://schemas.microsoft.com/office/drawing/2014/main" id="{59C3875B-F8E8-4E81-ACDD-B3A4E05E7776}"/>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1406">
              <a:extLst>
                <a:ext uri="{FF2B5EF4-FFF2-40B4-BE49-F238E27FC236}">
                  <a16:creationId xmlns:a16="http://schemas.microsoft.com/office/drawing/2014/main" id="{204675F9-4F0B-414D-9AD5-B653D3890733}"/>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1407">
              <a:extLst>
                <a:ext uri="{FF2B5EF4-FFF2-40B4-BE49-F238E27FC236}">
                  <a16:creationId xmlns:a16="http://schemas.microsoft.com/office/drawing/2014/main" id="{52EB4003-F807-45EE-8F7F-D140480A1CC9}"/>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 name="Freeform 1408">
              <a:extLst>
                <a:ext uri="{FF2B5EF4-FFF2-40B4-BE49-F238E27FC236}">
                  <a16:creationId xmlns:a16="http://schemas.microsoft.com/office/drawing/2014/main" id="{97129CA3-B572-422A-AED0-73913EA76E79}"/>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0FA2C3BF-4855-4450-B24B-0FA43A3DEA4D}"/>
              </a:ext>
            </a:extLst>
          </p:cNvPr>
          <p:cNvGrpSpPr/>
          <p:nvPr/>
        </p:nvGrpSpPr>
        <p:grpSpPr>
          <a:xfrm>
            <a:off x="9609327" y="2550385"/>
            <a:ext cx="692371" cy="692371"/>
            <a:chOff x="8296082" y="2896589"/>
            <a:chExt cx="692371" cy="692371"/>
          </a:xfrm>
        </p:grpSpPr>
        <p:sp>
          <p:nvSpPr>
            <p:cNvPr id="38" name="Freeform 1054">
              <a:extLst>
                <a:ext uri="{FF2B5EF4-FFF2-40B4-BE49-F238E27FC236}">
                  <a16:creationId xmlns:a16="http://schemas.microsoft.com/office/drawing/2014/main" id="{FA33E44D-D1FE-4DA7-BE77-42A4E407B71E}"/>
                </a:ext>
              </a:extLst>
            </p:cNvPr>
            <p:cNvSpPr>
              <a:spLocks noEditPoints="1"/>
            </p:cNvSpPr>
            <p:nvPr/>
          </p:nvSpPr>
          <p:spPr bwMode="auto">
            <a:xfrm>
              <a:off x="8296082" y="2896589"/>
              <a:ext cx="692371" cy="692371"/>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5">
              <a:extLst>
                <a:ext uri="{FF2B5EF4-FFF2-40B4-BE49-F238E27FC236}">
                  <a16:creationId xmlns:a16="http://schemas.microsoft.com/office/drawing/2014/main" id="{606ED84A-5F8E-4C90-A965-EEAB91405DF7}"/>
                </a:ext>
              </a:extLst>
            </p:cNvPr>
            <p:cNvSpPr>
              <a:spLocks noEditPoints="1"/>
            </p:cNvSpPr>
            <p:nvPr/>
          </p:nvSpPr>
          <p:spPr bwMode="auto">
            <a:xfrm>
              <a:off x="8550939" y="3149221"/>
              <a:ext cx="175807" cy="175807"/>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0" name="Arrow: Chevron 39">
            <a:extLst>
              <a:ext uri="{FF2B5EF4-FFF2-40B4-BE49-F238E27FC236}">
                <a16:creationId xmlns:a16="http://schemas.microsoft.com/office/drawing/2014/main" id="{4148A205-A3B8-4C8F-9E95-34C44022AE8E}"/>
              </a:ext>
            </a:extLst>
          </p:cNvPr>
          <p:cNvSpPr/>
          <p:nvPr/>
        </p:nvSpPr>
        <p:spPr bwMode="auto">
          <a:xfrm>
            <a:off x="8527139" y="2887296"/>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Arrow: Chevron 40">
            <a:extLst>
              <a:ext uri="{FF2B5EF4-FFF2-40B4-BE49-F238E27FC236}">
                <a16:creationId xmlns:a16="http://schemas.microsoft.com/office/drawing/2014/main" id="{D6D3435D-1663-4F1F-825D-CFD1062FD405}"/>
              </a:ext>
            </a:extLst>
          </p:cNvPr>
          <p:cNvSpPr/>
          <p:nvPr/>
        </p:nvSpPr>
        <p:spPr bwMode="auto">
          <a:xfrm flipH="1">
            <a:off x="8105108" y="2887296"/>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Send" title="Icon of a paper airplane">
            <a:extLst>
              <a:ext uri="{FF2B5EF4-FFF2-40B4-BE49-F238E27FC236}">
                <a16:creationId xmlns:a16="http://schemas.microsoft.com/office/drawing/2014/main" id="{9CFF386A-A331-49E4-B056-B61FE5461981}"/>
              </a:ext>
            </a:extLst>
          </p:cNvPr>
          <p:cNvSpPr>
            <a:spLocks noChangeAspect="1" noEditPoints="1"/>
          </p:cNvSpPr>
          <p:nvPr/>
        </p:nvSpPr>
        <p:spPr bwMode="auto">
          <a:xfrm>
            <a:off x="3773518" y="2784503"/>
            <a:ext cx="733011" cy="490430"/>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accent2"/>
          </a:solid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42" name="Arrow: Chevron 41">
            <a:extLst>
              <a:ext uri="{FF2B5EF4-FFF2-40B4-BE49-F238E27FC236}">
                <a16:creationId xmlns:a16="http://schemas.microsoft.com/office/drawing/2014/main" id="{5B9AE1AB-E536-4A13-8EAB-2BCE688464AB}"/>
              </a:ext>
            </a:extLst>
          </p:cNvPr>
          <p:cNvSpPr/>
          <p:nvPr/>
        </p:nvSpPr>
        <p:spPr bwMode="auto">
          <a:xfrm flipH="1">
            <a:off x="5071834" y="2887296"/>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0FE85553-80C9-44AE-BD03-45B50B146E7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4090207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2AF011-6C1A-420E-9DE6-E41D651335BE}"/>
              </a:ext>
            </a:extLst>
          </p:cNvPr>
          <p:cNvSpPr/>
          <p:nvPr/>
        </p:nvSpPr>
        <p:spPr bwMode="auto">
          <a:xfrm>
            <a:off x="435869" y="4016819"/>
            <a:ext cx="11317144" cy="2394398"/>
          </a:xfrm>
          <a:prstGeom prst="rect">
            <a:avLst/>
          </a:prstGeom>
          <a:solidFill>
            <a:schemeClr val="bg1"/>
          </a:solidFill>
          <a:ln>
            <a:solidFill>
              <a:schemeClr val="accent6"/>
            </a:solidFill>
            <a:headEnd type="none" w="med" len="med"/>
            <a:tailEnd type="none" w="med" len="med"/>
          </a:ln>
          <a:effectLst>
            <a:outerShdw blurRad="76200" dist="508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p:txBody>
          <a:bodyPr/>
          <a:lstStyle/>
          <a:p>
            <a:r>
              <a:rPr lang="en-US"/>
              <a:t>Choice of tools for every stage and every requirement</a:t>
            </a:r>
          </a:p>
        </p:txBody>
      </p:sp>
      <p:sp>
        <p:nvSpPr>
          <p:cNvPr id="85" name="TextBox 84">
            <a:extLst>
              <a:ext uri="{FF2B5EF4-FFF2-40B4-BE49-F238E27FC236}">
                <a16:creationId xmlns:a16="http://schemas.microsoft.com/office/drawing/2014/main" id="{032E5EA9-93D9-4C57-A770-A7ADBF3EB6BA}"/>
              </a:ext>
            </a:extLst>
          </p:cNvPr>
          <p:cNvSpPr txBox="1"/>
          <p:nvPr/>
        </p:nvSpPr>
        <p:spPr>
          <a:xfrm>
            <a:off x="637954" y="978304"/>
            <a:ext cx="10608804" cy="492443"/>
          </a:xfrm>
          <a:prstGeom prst="rect">
            <a:avLst/>
          </a:prstGeom>
          <a:noFill/>
        </p:spPr>
        <p:txBody>
          <a:bodyPr wrap="square" lIns="0" tIns="91440" rIns="91440" bIns="91440"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20" normalizeH="0" baseline="0" noProof="0">
                <a:ln w="3175">
                  <a:noFill/>
                </a:ln>
                <a:solidFill>
                  <a:schemeClr val="accent1"/>
                </a:solidFill>
                <a:effectLst/>
                <a:uLnTx/>
                <a:uFillTx/>
                <a:latin typeface="Segoe UI Semibold"/>
                <a:ea typeface="+mn-ea"/>
                <a:cs typeface="Segoe UI" pitchFamily="34" charset="0"/>
              </a:rPr>
              <a:t>Goal is successful Azure migration: Pick the right tool for the job</a:t>
            </a:r>
          </a:p>
        </p:txBody>
      </p:sp>
      <p:grpSp>
        <p:nvGrpSpPr>
          <p:cNvPr id="4" name="Group 3">
            <a:extLst>
              <a:ext uri="{FF2B5EF4-FFF2-40B4-BE49-F238E27FC236}">
                <a16:creationId xmlns:a16="http://schemas.microsoft.com/office/drawing/2014/main" id="{B832D8AB-2901-4ED1-ABFD-BED932527F3A}"/>
              </a:ext>
            </a:extLst>
          </p:cNvPr>
          <p:cNvGrpSpPr/>
          <p:nvPr/>
        </p:nvGrpSpPr>
        <p:grpSpPr>
          <a:xfrm>
            <a:off x="852964" y="4214597"/>
            <a:ext cx="10750944" cy="2114871"/>
            <a:chOff x="879340" y="3525654"/>
            <a:chExt cx="10750944" cy="2114871"/>
          </a:xfrm>
        </p:grpSpPr>
        <p:pic>
          <p:nvPicPr>
            <p:cNvPr id="69" name="Picture 68" descr="Image result for Attunity png">
              <a:extLst>
                <a:ext uri="{FF2B5EF4-FFF2-40B4-BE49-F238E27FC236}">
                  <a16:creationId xmlns:a16="http://schemas.microsoft.com/office/drawing/2014/main" id="{999F12AF-EE61-4ECA-B810-103F1C9212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249" r="16819"/>
            <a:stretch/>
          </p:blipFill>
          <p:spPr bwMode="auto">
            <a:xfrm>
              <a:off x="2522285" y="5071818"/>
              <a:ext cx="1275471" cy="514034"/>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FC672CE4-B1BF-4C75-8B77-3F26FC1019AA}"/>
                </a:ext>
              </a:extLst>
            </p:cNvPr>
            <p:cNvGrpSpPr/>
            <p:nvPr/>
          </p:nvGrpSpPr>
          <p:grpSpPr>
            <a:xfrm>
              <a:off x="4318697" y="5237611"/>
              <a:ext cx="995994" cy="200554"/>
              <a:chOff x="1340008" y="-118325"/>
              <a:chExt cx="6669719" cy="1343025"/>
            </a:xfrm>
          </p:grpSpPr>
          <p:pic>
            <p:nvPicPr>
              <p:cNvPr id="75" name="Graphic 49">
                <a:extLst>
                  <a:ext uri="{FF2B5EF4-FFF2-40B4-BE49-F238E27FC236}">
                    <a16:creationId xmlns:a16="http://schemas.microsoft.com/office/drawing/2014/main" id="{820CFCBA-4E07-471C-B005-E19BA4F372E8}"/>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79958"/>
              <a:stretch/>
            </p:blipFill>
            <p:spPr>
              <a:xfrm>
                <a:off x="3027363" y="-118325"/>
                <a:ext cx="1647504" cy="1343025"/>
              </a:xfrm>
              <a:prstGeom prst="rect">
                <a:avLst/>
              </a:prstGeom>
            </p:spPr>
          </p:pic>
          <p:pic>
            <p:nvPicPr>
              <p:cNvPr id="76" name="Graphic 51">
                <a:extLst>
                  <a:ext uri="{FF2B5EF4-FFF2-40B4-BE49-F238E27FC236}">
                    <a16:creationId xmlns:a16="http://schemas.microsoft.com/office/drawing/2014/main" id="{6B3DA2C4-E6E4-41B2-92D5-7E3FC240407A}"/>
                  </a:ext>
                </a:extLst>
              </p:cNvPr>
              <p:cNvPicPr>
                <a:picLocks noChangeAspect="1"/>
              </p:cNvPicPr>
              <p:nvPr/>
            </p:nvPicPr>
            <p:blipFill rotWithShape="1">
              <a:blip r:embed="rId4">
                <a:lum bright="-100000"/>
                <a:extLst>
                  <a:ext uri="{96DAC541-7B7A-43D3-8B79-37D633B846F1}">
                    <asvg:svgBlip xmlns:asvg="http://schemas.microsoft.com/office/drawing/2016/SVG/main" r:embed="rId5"/>
                  </a:ext>
                </a:extLst>
              </a:blip>
              <a:srcRect l="18860"/>
              <a:stretch/>
            </p:blipFill>
            <p:spPr>
              <a:xfrm>
                <a:off x="1340008" y="-118325"/>
                <a:ext cx="6669719" cy="1343025"/>
              </a:xfrm>
              <a:prstGeom prst="rect">
                <a:avLst/>
              </a:prstGeom>
            </p:spPr>
          </p:pic>
        </p:grpSp>
        <p:pic>
          <p:nvPicPr>
            <p:cNvPr id="71" name="Picture 70" descr="Image result for Morphis png logo">
              <a:extLst>
                <a:ext uri="{FF2B5EF4-FFF2-40B4-BE49-F238E27FC236}">
                  <a16:creationId xmlns:a16="http://schemas.microsoft.com/office/drawing/2014/main" id="{C19FBFAD-AEEF-48A7-A418-0561C7BE3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7330" y="5071818"/>
              <a:ext cx="704460" cy="40210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Image result for Informatica logo png">
              <a:extLst>
                <a:ext uri="{FF2B5EF4-FFF2-40B4-BE49-F238E27FC236}">
                  <a16:creationId xmlns:a16="http://schemas.microsoft.com/office/drawing/2014/main" id="{EB7EE7CC-F6D3-43E8-A735-4AA17F8707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58807" y="5162785"/>
              <a:ext cx="1312475" cy="4777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CB89584E-030C-46B1-883F-0701D57F4D2D}"/>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126496" y="5036153"/>
              <a:ext cx="622874" cy="395370"/>
            </a:xfrm>
            <a:prstGeom prst="rect">
              <a:avLst/>
            </a:prstGeom>
          </p:spPr>
        </p:pic>
        <p:pic>
          <p:nvPicPr>
            <p:cNvPr id="74" name="Picture 12" descr="Image result for QuerySurge logos">
              <a:extLst>
                <a:ext uri="{FF2B5EF4-FFF2-40B4-BE49-F238E27FC236}">
                  <a16:creationId xmlns:a16="http://schemas.microsoft.com/office/drawing/2014/main" id="{F4AA2D34-EDC1-41A1-8F28-26B751269D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268" t="11909" r="10046" b="12759"/>
            <a:stretch/>
          </p:blipFill>
          <p:spPr bwMode="auto">
            <a:xfrm>
              <a:off x="10518402" y="5190753"/>
              <a:ext cx="1111882" cy="30043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18637F2F-C0CA-4480-A8A3-5FEB2A4D6ED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4426" y="4611498"/>
              <a:ext cx="799879" cy="295339"/>
            </a:xfrm>
            <a:prstGeom prst="rect">
              <a:avLst/>
            </a:prstGeom>
          </p:spPr>
        </p:pic>
        <p:pic>
          <p:nvPicPr>
            <p:cNvPr id="65" name="Picture 2" descr="Image result for cloudamize logo">
              <a:extLst>
                <a:ext uri="{FF2B5EF4-FFF2-40B4-BE49-F238E27FC236}">
                  <a16:creationId xmlns:a16="http://schemas.microsoft.com/office/drawing/2014/main" id="{168A58E5-80E9-426D-855F-86D5F5C5198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62078" y="4120707"/>
              <a:ext cx="1484670" cy="1846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turbonomic logo">
              <a:extLst>
                <a:ext uri="{FF2B5EF4-FFF2-40B4-BE49-F238E27FC236}">
                  <a16:creationId xmlns:a16="http://schemas.microsoft.com/office/drawing/2014/main" id="{892DE607-B566-4C78-BB70-658AF2F823B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92393" y="4646477"/>
              <a:ext cx="1065526" cy="3308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Ispirer logos">
              <a:extLst>
                <a:ext uri="{FF2B5EF4-FFF2-40B4-BE49-F238E27FC236}">
                  <a16:creationId xmlns:a16="http://schemas.microsoft.com/office/drawing/2014/main" id="{4DCAE8CA-92FA-4D36-90DB-E6701D752EB7}"/>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t="13369" b="12055"/>
            <a:stretch/>
          </p:blipFill>
          <p:spPr bwMode="auto">
            <a:xfrm>
              <a:off x="7377580" y="5213279"/>
              <a:ext cx="1001729" cy="32016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Image result for Intigua logos">
              <a:extLst>
                <a:ext uri="{FF2B5EF4-FFF2-40B4-BE49-F238E27FC236}">
                  <a16:creationId xmlns:a16="http://schemas.microsoft.com/office/drawing/2014/main" id="{FABA6D60-08FE-45AC-99ED-2C8727EEFBDC}"/>
                </a:ext>
              </a:extLst>
            </p:cNvPr>
            <p:cNvPicPr>
              <a:picLocks noChangeAspect="1" noChangeArrowheads="1"/>
            </p:cNvPicPr>
            <p:nvPr/>
          </p:nvPicPr>
          <p:blipFill rotWithShape="1">
            <a:blip r:embed="rId1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929" t="22900" r="6597" b="26895"/>
            <a:stretch/>
          </p:blipFill>
          <p:spPr bwMode="auto">
            <a:xfrm>
              <a:off x="9521571" y="4613233"/>
              <a:ext cx="991481" cy="3525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icture containing object&#10;&#10;Description generated with high confidence">
              <a:extLst>
                <a:ext uri="{FF2B5EF4-FFF2-40B4-BE49-F238E27FC236}">
                  <a16:creationId xmlns:a16="http://schemas.microsoft.com/office/drawing/2014/main" id="{FF0ED615-31C7-41FB-B26D-4AB278A2F38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63960" y="4105430"/>
              <a:ext cx="1168533" cy="294471"/>
            </a:xfrm>
            <a:prstGeom prst="rect">
              <a:avLst/>
            </a:prstGeom>
          </p:spPr>
        </p:pic>
        <p:pic>
          <p:nvPicPr>
            <p:cNvPr id="59" name="Graphic 58">
              <a:extLst>
                <a:ext uri="{FF2B5EF4-FFF2-40B4-BE49-F238E27FC236}">
                  <a16:creationId xmlns:a16="http://schemas.microsoft.com/office/drawing/2014/main" id="{1B62F56F-58BF-4C14-9D95-DCF64FA20D5C}"/>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9340" y="4147893"/>
              <a:ext cx="1065526" cy="192810"/>
            </a:xfrm>
            <a:prstGeom prst="rect">
              <a:avLst/>
            </a:prstGeom>
          </p:spPr>
        </p:pic>
        <p:pic>
          <p:nvPicPr>
            <p:cNvPr id="60" name="Picture 2" descr="Image result for stratozono logo">
              <a:extLst>
                <a:ext uri="{FF2B5EF4-FFF2-40B4-BE49-F238E27FC236}">
                  <a16:creationId xmlns:a16="http://schemas.microsoft.com/office/drawing/2014/main" id="{2D072B27-F71E-48D5-A878-B97FEEDE9126}"/>
                </a:ext>
              </a:extLst>
            </p:cNvPr>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35413" t="61548"/>
            <a:stretch/>
          </p:blipFill>
          <p:spPr bwMode="auto">
            <a:xfrm>
              <a:off x="896112" y="4724036"/>
              <a:ext cx="1218229" cy="16499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6" descr="Image result for BitTitan logos">
              <a:extLst>
                <a:ext uri="{FF2B5EF4-FFF2-40B4-BE49-F238E27FC236}">
                  <a16:creationId xmlns:a16="http://schemas.microsoft.com/office/drawing/2014/main" id="{4ECFBBB8-E322-4E75-82A7-81C9FF48CB2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12887" y="4092583"/>
              <a:ext cx="1228828" cy="3201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E9426420-2BBA-4348-8932-D818918EE047}"/>
                </a:ext>
              </a:extLst>
            </p:cNvPr>
            <p:cNvSpPr txBox="1"/>
            <p:nvPr/>
          </p:nvSpPr>
          <p:spPr>
            <a:xfrm>
              <a:off x="1643085" y="3525654"/>
              <a:ext cx="9035584" cy="301223"/>
            </a:xfrm>
            <a:prstGeom prst="rect">
              <a:avLst/>
            </a:prstGeom>
            <a:noFill/>
            <a:ln w="15875" cap="sq">
              <a:noFill/>
              <a:miter lim="800000"/>
            </a:ln>
          </p:spPr>
          <p:txBody>
            <a:bodyPr wrap="square" lIns="89630" tIns="0" rIns="89630" bIns="0" rtlCol="0" anchor="ctr" anchorCtr="0">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20" normalizeH="0" baseline="0" noProof="0">
                  <a:ln w="3175">
                    <a:noFill/>
                  </a:ln>
                  <a:solidFill>
                    <a:schemeClr val="accent1"/>
                  </a:solidFill>
                  <a:effectLst/>
                  <a:uLnTx/>
                  <a:uFillTx/>
                  <a:latin typeface="Segoe UI Semibold"/>
                  <a:ea typeface="+mn-ea"/>
                  <a:cs typeface="Segoe UI" pitchFamily="34" charset="0"/>
                </a:rPr>
                <a:t>We embrace ISV solutions</a:t>
              </a:r>
            </a:p>
          </p:txBody>
        </p:sp>
        <p:pic>
          <p:nvPicPr>
            <p:cNvPr id="86" name="Picture 2" descr="Image result for zerto png logo">
              <a:extLst>
                <a:ext uri="{FF2B5EF4-FFF2-40B4-BE49-F238E27FC236}">
                  <a16:creationId xmlns:a16="http://schemas.microsoft.com/office/drawing/2014/main" id="{46D57640-BE85-4605-8977-4349D62DD72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61199" y="4752053"/>
              <a:ext cx="547258" cy="146802"/>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TextBox 116">
            <a:extLst>
              <a:ext uri="{FF2B5EF4-FFF2-40B4-BE49-F238E27FC236}">
                <a16:creationId xmlns:a16="http://schemas.microsoft.com/office/drawing/2014/main" id="{7E54834A-522E-4915-A13E-147834CD97F3}"/>
              </a:ext>
            </a:extLst>
          </p:cNvPr>
          <p:cNvSpPr txBox="1"/>
          <p:nvPr/>
        </p:nvSpPr>
        <p:spPr>
          <a:xfrm>
            <a:off x="969018" y="1892953"/>
            <a:ext cx="1656323" cy="548640"/>
          </a:xfrm>
          <a:prstGeom prst="rect">
            <a:avLst/>
          </a:prstGeom>
          <a:noFill/>
        </p:spPr>
        <p:txBody>
          <a:bodyPr wrap="square" lIns="179259" tIns="143407" rIns="179259" bIns="143407" rtlCol="0" anchor="ctr">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85973" y="2520359"/>
            <a:ext cx="1712697" cy="0"/>
          </a:xfrm>
          <a:prstGeom prst="line">
            <a:avLst/>
          </a:prstGeom>
          <a:noFill/>
          <a:ln w="12700" cap="flat" cmpd="sng" algn="ctr">
            <a:solidFill>
              <a:schemeClr val="accent6"/>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76733" y="1892953"/>
            <a:ext cx="2051489"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51029" y="2520359"/>
            <a:ext cx="1808799" cy="0"/>
          </a:xfrm>
          <a:prstGeom prst="line">
            <a:avLst/>
          </a:prstGeom>
          <a:noFill/>
          <a:ln w="12700" cap="flat" cmpd="sng" algn="ctr">
            <a:solidFill>
              <a:schemeClr val="accent6"/>
            </a:solidFill>
            <a:prstDash val="solid"/>
            <a:headEnd type="none"/>
            <a:tailEnd type="none"/>
          </a:ln>
          <a:effectLst/>
        </p:spPr>
      </p:cxnSp>
      <p:sp>
        <p:nvSpPr>
          <p:cNvPr id="100" name="Rectangle 99">
            <a:extLst>
              <a:ext uri="{FF2B5EF4-FFF2-40B4-BE49-F238E27FC236}">
                <a16:creationId xmlns:a16="http://schemas.microsoft.com/office/drawing/2014/main" id="{34348E7D-C2D0-47BC-A8E2-EABB0E1ED04B}"/>
              </a:ext>
            </a:extLst>
          </p:cNvPr>
          <p:cNvSpPr/>
          <p:nvPr/>
        </p:nvSpPr>
        <p:spPr>
          <a:xfrm>
            <a:off x="485973" y="3016008"/>
            <a:ext cx="2744564"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Data Migration Assistant (DMA)</a:t>
            </a:r>
          </a:p>
        </p:txBody>
      </p:sp>
      <p:sp>
        <p:nvSpPr>
          <p:cNvPr id="102" name="Rectangle 101">
            <a:extLst>
              <a:ext uri="{FF2B5EF4-FFF2-40B4-BE49-F238E27FC236}">
                <a16:creationId xmlns:a16="http://schemas.microsoft.com/office/drawing/2014/main" id="{E3A831F2-FB7C-4E76-8C25-3BB9CE628BAC}"/>
              </a:ext>
            </a:extLst>
          </p:cNvPr>
          <p:cNvSpPr/>
          <p:nvPr/>
        </p:nvSpPr>
        <p:spPr>
          <a:xfrm>
            <a:off x="485973" y="2610323"/>
            <a:ext cx="2380928"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Migrate</a:t>
            </a:r>
          </a:p>
        </p:txBody>
      </p:sp>
      <p:sp>
        <p:nvSpPr>
          <p:cNvPr id="50" name="Rectangle 49">
            <a:extLst>
              <a:ext uri="{FF2B5EF4-FFF2-40B4-BE49-F238E27FC236}">
                <a16:creationId xmlns:a16="http://schemas.microsoft.com/office/drawing/2014/main" id="{73CB86B9-F777-4587-9C18-EAD6B6F390A8}"/>
              </a:ext>
            </a:extLst>
          </p:cNvPr>
          <p:cNvSpPr/>
          <p:nvPr/>
        </p:nvSpPr>
        <p:spPr>
          <a:xfrm>
            <a:off x="485973" y="3395427"/>
            <a:ext cx="3082005"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SQL Server Migration Assistant (SSMA)</a:t>
            </a:r>
          </a:p>
        </p:txBody>
      </p:sp>
      <p:sp>
        <p:nvSpPr>
          <p:cNvPr id="80" name="TextBox 79">
            <a:extLst>
              <a:ext uri="{FF2B5EF4-FFF2-40B4-BE49-F238E27FC236}">
                <a16:creationId xmlns:a16="http://schemas.microsoft.com/office/drawing/2014/main" id="{07DEFF64-E7FF-4255-ABCE-50C055349CAA}"/>
              </a:ext>
            </a:extLst>
          </p:cNvPr>
          <p:cNvSpPr txBox="1"/>
          <p:nvPr/>
        </p:nvSpPr>
        <p:spPr>
          <a:xfrm>
            <a:off x="8970159" y="2638659"/>
            <a:ext cx="2930126" cy="646331"/>
          </a:xfrm>
          <a:prstGeom prst="rect">
            <a:avLst/>
          </a:prstGeom>
          <a:noFill/>
        </p:spPr>
        <p:txBody>
          <a:bodyPr wrap="square" rtlCol="0">
            <a:spAutoFit/>
          </a:bodyPr>
          <a:lstStyle>
            <a:defPPr>
              <a:defRPr lang="en-US"/>
            </a:defPPr>
            <a:lvl1pPr lvl="0" algn="ctr" defTabSz="914016">
              <a:defRPr sz="1600">
                <a:solidFill>
                  <a:srgbClr val="1A1A1A"/>
                </a:solidFill>
                <a:latin typeface="Segoe UI Semibold" panose="020B0702040204020203" pitchFamily="34" charset="0"/>
                <a:cs typeface="Segoe UI Semibold" panose="020B0702040204020203" pitchFamily="34" charset="0"/>
              </a:defRPr>
            </a:lvl1pPr>
          </a:lstStyle>
          <a:p>
            <a:pPr marL="53975" marR="0" lvl="0" indent="-53975"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ecurity &amp; Management</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e.g., Blueprints, Security Center, </a:t>
            </a:r>
            <a:b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b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Backup, Monitor)</a:t>
            </a:r>
          </a:p>
        </p:txBody>
      </p:sp>
      <p:sp>
        <p:nvSpPr>
          <p:cNvPr id="118" name="TextBox 117">
            <a:extLst>
              <a:ext uri="{FF2B5EF4-FFF2-40B4-BE49-F238E27FC236}">
                <a16:creationId xmlns:a16="http://schemas.microsoft.com/office/drawing/2014/main" id="{497CCBF8-A3A2-4B00-9E0B-C0BB0C25F04E}"/>
              </a:ext>
            </a:extLst>
          </p:cNvPr>
          <p:cNvSpPr txBox="1"/>
          <p:nvPr/>
        </p:nvSpPr>
        <p:spPr>
          <a:xfrm>
            <a:off x="3791140"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401390" y="2520359"/>
            <a:ext cx="1707549" cy="0"/>
          </a:xfrm>
          <a:prstGeom prst="line">
            <a:avLst/>
          </a:prstGeom>
          <a:noFill/>
          <a:ln w="12700" cap="flat" cmpd="sng" algn="ctr">
            <a:solidFill>
              <a:schemeClr val="accent6"/>
            </a:solidFill>
            <a:prstDash val="solid"/>
            <a:headEnd type="none"/>
            <a:tailEnd type="none"/>
          </a:ln>
          <a:effectLst/>
        </p:spPr>
      </p:cxnSp>
      <p:sp>
        <p:nvSpPr>
          <p:cNvPr id="94" name="TextBox 93">
            <a:extLst>
              <a:ext uri="{FF2B5EF4-FFF2-40B4-BE49-F238E27FC236}">
                <a16:creationId xmlns:a16="http://schemas.microsoft.com/office/drawing/2014/main" id="{6CF0D7C2-5519-4B92-9385-37A37F75F960}"/>
              </a:ext>
            </a:extLst>
          </p:cNvPr>
          <p:cNvSpPr txBox="1"/>
          <p:nvPr/>
        </p:nvSpPr>
        <p:spPr>
          <a:xfrm>
            <a:off x="3329369" y="3016008"/>
            <a:ext cx="2601817" cy="276999"/>
          </a:xfrm>
          <a:prstGeom prst="rect">
            <a:avLst/>
          </a:prstGeom>
        </p:spPr>
        <p:txBody>
          <a:bodyPr wrap="square">
            <a:spAutoFit/>
          </a:bodyPr>
          <a:lstStyle>
            <a:defPPr>
              <a:defRPr lang="en-US"/>
            </a:defPPr>
            <a:lvl1pPr marR="0" lvl="0" indent="0" algn="ctr" defTabSz="914016" fontAlgn="auto">
              <a:lnSpc>
                <a:spcPct val="100000"/>
              </a:lnSpc>
              <a:spcBef>
                <a:spcPts val="0"/>
              </a:spcBef>
              <a:spcAft>
                <a:spcPts val="0"/>
              </a:spcAft>
              <a:buClrTx/>
              <a:buSzTx/>
              <a:buFontTx/>
              <a:buNone/>
              <a:tabLst/>
              <a:defRPr sz="1600">
                <a:solidFill>
                  <a:srgbClr val="1A1A1A"/>
                </a:solidFill>
                <a:latin typeface="Segoe UI Semibold" panose="020B0702040204020203" pitchFamily="34" charset="0"/>
                <a:cs typeface="Segoe UI Semibold" panose="020B0702040204020203" pitchFamily="34"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base Migration Service</a:t>
            </a:r>
          </a:p>
        </p:txBody>
      </p:sp>
      <p:sp>
        <p:nvSpPr>
          <p:cNvPr id="103" name="Rectangle 102">
            <a:extLst>
              <a:ext uri="{FF2B5EF4-FFF2-40B4-BE49-F238E27FC236}">
                <a16:creationId xmlns:a16="http://schemas.microsoft.com/office/drawing/2014/main" id="{A9E3B57E-D978-45D8-A421-56A11682DD96}"/>
              </a:ext>
            </a:extLst>
          </p:cNvPr>
          <p:cNvSpPr/>
          <p:nvPr/>
        </p:nvSpPr>
        <p:spPr>
          <a:xfrm>
            <a:off x="3329368" y="2605283"/>
            <a:ext cx="2169643"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ite Recovery (ASR)</a:t>
            </a:r>
          </a:p>
        </p:txBody>
      </p:sp>
      <p:sp>
        <p:nvSpPr>
          <p:cNvPr id="110" name="TextBox 109">
            <a:extLst>
              <a:ext uri="{FF2B5EF4-FFF2-40B4-BE49-F238E27FC236}">
                <a16:creationId xmlns:a16="http://schemas.microsoft.com/office/drawing/2014/main" id="{12EA37F1-275D-4BE3-97D8-B44BE30F1EFB}"/>
              </a:ext>
            </a:extLst>
          </p:cNvPr>
          <p:cNvSpPr txBox="1"/>
          <p:nvPr/>
        </p:nvSpPr>
        <p:spPr>
          <a:xfrm>
            <a:off x="3329369" y="3395427"/>
            <a:ext cx="2718298" cy="276999"/>
          </a:xfrm>
          <a:prstGeom prst="rect">
            <a:avLst/>
          </a:prstGeom>
          <a:no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 Box</a:t>
            </a:r>
          </a:p>
        </p:txBody>
      </p:sp>
      <p:sp>
        <p:nvSpPr>
          <p:cNvPr id="119" name="TextBox 118">
            <a:extLst>
              <a:ext uri="{FF2B5EF4-FFF2-40B4-BE49-F238E27FC236}">
                <a16:creationId xmlns:a16="http://schemas.microsoft.com/office/drawing/2014/main" id="{AF8CFA70-C576-4DC3-9B5B-E4C7372D0ABA}"/>
              </a:ext>
            </a:extLst>
          </p:cNvPr>
          <p:cNvSpPr txBox="1"/>
          <p:nvPr/>
        </p:nvSpPr>
        <p:spPr>
          <a:xfrm>
            <a:off x="6548119"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37569" y="2520359"/>
            <a:ext cx="1742512" cy="0"/>
          </a:xfrm>
          <a:prstGeom prst="line">
            <a:avLst/>
          </a:prstGeom>
          <a:noFill/>
          <a:ln w="12700" cap="flat" cmpd="sng" algn="ctr">
            <a:solidFill>
              <a:schemeClr val="accent6"/>
            </a:solidFill>
            <a:prstDash val="solid"/>
            <a:headEnd type="none"/>
            <a:tailEnd type="none"/>
          </a:ln>
          <a:effectLst/>
        </p:spPr>
      </p:cxnSp>
      <p:sp>
        <p:nvSpPr>
          <p:cNvPr id="95" name="TextBox 94">
            <a:extLst>
              <a:ext uri="{FF2B5EF4-FFF2-40B4-BE49-F238E27FC236}">
                <a16:creationId xmlns:a16="http://schemas.microsoft.com/office/drawing/2014/main" id="{780F2EB9-316E-474B-8356-D0EE9758820F}"/>
              </a:ext>
            </a:extLst>
          </p:cNvPr>
          <p:cNvSpPr txBox="1"/>
          <p:nvPr/>
        </p:nvSpPr>
        <p:spPr>
          <a:xfrm>
            <a:off x="6149153" y="2638659"/>
            <a:ext cx="2468880" cy="646331"/>
          </a:xfrm>
          <a:prstGeom prst="rect">
            <a:avLst/>
          </a:prstGeom>
          <a:noFill/>
        </p:spPr>
        <p:txBody>
          <a:bodyPr wrap="square" rtlCol="0">
            <a:spAutoFit/>
          </a:bodyPr>
          <a:lstStyle>
            <a:defPPr>
              <a:defRPr lang="en-US"/>
            </a:defPPr>
            <a:lvl1pPr lvl="0" algn="ctr" defTabSz="914016">
              <a:defRPr sz="1400">
                <a:solidFill>
                  <a:schemeClr val="tx2"/>
                </a:solidFill>
                <a:latin typeface="Segoe UI" charset="0"/>
                <a:cs typeface="Segoe UI"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Cost Management</a:t>
            </a:r>
          </a:p>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endParaRPr>
          </a:p>
          <a:p>
            <a:pPr marL="0" marR="0" lvl="0" indent="0" algn="l" defTabSz="914016" rtl="0" eaLnBrk="1" fontAlgn="auto" latinLnBrk="0" hangingPunct="1">
              <a:lnSpc>
                <a:spcPct val="100000"/>
              </a:lnSpc>
              <a:spcBef>
                <a:spcPts val="0"/>
              </a:spcBef>
              <a:spcAft>
                <a:spcPts val="0"/>
              </a:spcAft>
              <a:buClrTx/>
              <a:buSzTx/>
              <a:buFontTx/>
              <a:buNone/>
              <a:tabLst/>
              <a:defRPr/>
            </a:pPr>
            <a:r>
              <a:rPr lang="en-US" sz="1200">
                <a:gradFill>
                  <a:gsLst>
                    <a:gs pos="21429">
                      <a:srgbClr val="1A1A1A"/>
                    </a:gs>
                    <a:gs pos="43000">
                      <a:srgbClr val="1A1A1A"/>
                    </a:gs>
                  </a:gsLst>
                  <a:lin ang="5400000" scaled="1"/>
                </a:gradFill>
              </a:rPr>
              <a:t>Azure Advisor </a:t>
            </a:r>
            <a:endPar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endParaRPr>
          </a:p>
        </p:txBody>
      </p:sp>
      <p:sp>
        <p:nvSpPr>
          <p:cNvPr id="138" name="Arrow: Chevron 137">
            <a:extLst>
              <a:ext uri="{FF2B5EF4-FFF2-40B4-BE49-F238E27FC236}">
                <a16:creationId xmlns:a16="http://schemas.microsoft.com/office/drawing/2014/main" id="{FFFA4BEC-8E29-41DB-A460-306B8381E157}"/>
              </a:ext>
            </a:extLst>
          </p:cNvPr>
          <p:cNvSpPr/>
          <p:nvPr/>
        </p:nvSpPr>
        <p:spPr bwMode="auto">
          <a:xfrm>
            <a:off x="2580538" y="1947370"/>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9" name="Arrow: Chevron 138">
            <a:extLst>
              <a:ext uri="{FF2B5EF4-FFF2-40B4-BE49-F238E27FC236}">
                <a16:creationId xmlns:a16="http://schemas.microsoft.com/office/drawing/2014/main" id="{A064AA26-59D0-4600-942F-1F59BE7153EA}"/>
              </a:ext>
            </a:extLst>
          </p:cNvPr>
          <p:cNvSpPr/>
          <p:nvPr/>
        </p:nvSpPr>
        <p:spPr bwMode="auto">
          <a:xfrm>
            <a:off x="5621592"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0" name="Arrow: Chevron 139">
            <a:extLst>
              <a:ext uri="{FF2B5EF4-FFF2-40B4-BE49-F238E27FC236}">
                <a16:creationId xmlns:a16="http://schemas.microsoft.com/office/drawing/2014/main" id="{3BFA48E6-F6E4-4E2C-8312-85776418D99C}"/>
              </a:ext>
            </a:extLst>
          </p:cNvPr>
          <p:cNvSpPr/>
          <p:nvPr/>
        </p:nvSpPr>
        <p:spPr bwMode="auto">
          <a:xfrm>
            <a:off x="8499446"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1" name="Arrow: Chevron 140">
            <a:extLst>
              <a:ext uri="{FF2B5EF4-FFF2-40B4-BE49-F238E27FC236}">
                <a16:creationId xmlns:a16="http://schemas.microsoft.com/office/drawing/2014/main" id="{3DB08F07-E3CD-4756-BD12-D8702DEB3889}"/>
              </a:ext>
            </a:extLst>
          </p:cNvPr>
          <p:cNvSpPr/>
          <p:nvPr/>
        </p:nvSpPr>
        <p:spPr bwMode="auto">
          <a:xfrm flipH="1">
            <a:off x="8077415"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77" name="Picture 2" descr="https://upload.wikimedia.org/wikipedia/en/5/56/Chef_Software_Inc._company_logo.png">
            <a:extLst>
              <a:ext uri="{FF2B5EF4-FFF2-40B4-BE49-F238E27FC236}">
                <a16:creationId xmlns:a16="http://schemas.microsoft.com/office/drawing/2014/main" id="{1E58D8C6-1361-4A86-8896-ED3CF33C8DF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96946" y="4557433"/>
            <a:ext cx="641882" cy="701394"/>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Group 100">
            <a:extLst>
              <a:ext uri="{FF2B5EF4-FFF2-40B4-BE49-F238E27FC236}">
                <a16:creationId xmlns:a16="http://schemas.microsoft.com/office/drawing/2014/main" id="{B65CD66A-7A21-4B1A-ACF0-AB34031E2075}"/>
              </a:ext>
            </a:extLst>
          </p:cNvPr>
          <p:cNvGrpSpPr>
            <a:grpSpLocks noChangeAspect="1"/>
          </p:cNvGrpSpPr>
          <p:nvPr/>
        </p:nvGrpSpPr>
        <p:grpSpPr bwMode="auto">
          <a:xfrm>
            <a:off x="601610" y="1835709"/>
            <a:ext cx="479246" cy="477432"/>
            <a:chOff x="1887" y="3001"/>
            <a:chExt cx="264" cy="263"/>
          </a:xfrm>
          <a:solidFill>
            <a:schemeClr val="accent1"/>
          </a:solidFill>
        </p:grpSpPr>
        <p:sp>
          <p:nvSpPr>
            <p:cNvPr id="79" name="Freeform 101">
              <a:extLst>
                <a:ext uri="{FF2B5EF4-FFF2-40B4-BE49-F238E27FC236}">
                  <a16:creationId xmlns:a16="http://schemas.microsoft.com/office/drawing/2014/main" id="{F00E71A5-DB6C-4A3C-B462-20DDC8161103}"/>
                </a:ext>
              </a:extLst>
            </p:cNvPr>
            <p:cNvSpPr>
              <a:spLocks/>
            </p:cNvSpPr>
            <p:nvPr/>
          </p:nvSpPr>
          <p:spPr bwMode="auto">
            <a:xfrm>
              <a:off x="1970" y="3001"/>
              <a:ext cx="181" cy="181"/>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102">
              <a:extLst>
                <a:ext uri="{FF2B5EF4-FFF2-40B4-BE49-F238E27FC236}">
                  <a16:creationId xmlns:a16="http://schemas.microsoft.com/office/drawing/2014/main" id="{399587E2-0721-4412-9FE0-EC9E71CC8012}"/>
                </a:ext>
              </a:extLst>
            </p:cNvPr>
            <p:cNvSpPr>
              <a:spLocks/>
            </p:cNvSpPr>
            <p:nvPr/>
          </p:nvSpPr>
          <p:spPr bwMode="auto">
            <a:xfrm>
              <a:off x="1887" y="3149"/>
              <a:ext cx="115" cy="115"/>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103">
              <a:extLst>
                <a:ext uri="{FF2B5EF4-FFF2-40B4-BE49-F238E27FC236}">
                  <a16:creationId xmlns:a16="http://schemas.microsoft.com/office/drawing/2014/main" id="{E30A9F38-146F-484D-87AA-DD6CA99B6F40}"/>
                </a:ext>
              </a:extLst>
            </p:cNvPr>
            <p:cNvSpPr>
              <a:spLocks/>
            </p:cNvSpPr>
            <p:nvPr/>
          </p:nvSpPr>
          <p:spPr bwMode="auto">
            <a:xfrm>
              <a:off x="1986" y="3017"/>
              <a:ext cx="149" cy="149"/>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918D9EA6-EEF1-471E-BC9C-1EC5B4F744BF}"/>
              </a:ext>
            </a:extLst>
          </p:cNvPr>
          <p:cNvGrpSpPr/>
          <p:nvPr/>
        </p:nvGrpSpPr>
        <p:grpSpPr>
          <a:xfrm>
            <a:off x="6280400" y="1957713"/>
            <a:ext cx="449453" cy="370137"/>
            <a:chOff x="10082121" y="5760490"/>
            <a:chExt cx="536745" cy="442025"/>
          </a:xfrm>
        </p:grpSpPr>
        <p:sp>
          <p:nvSpPr>
            <p:cNvPr id="87" name="Freeform 1403">
              <a:extLst>
                <a:ext uri="{FF2B5EF4-FFF2-40B4-BE49-F238E27FC236}">
                  <a16:creationId xmlns:a16="http://schemas.microsoft.com/office/drawing/2014/main" id="{BE73F428-A00B-443C-A1C7-CC13B34BB966}"/>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1404">
              <a:extLst>
                <a:ext uri="{FF2B5EF4-FFF2-40B4-BE49-F238E27FC236}">
                  <a16:creationId xmlns:a16="http://schemas.microsoft.com/office/drawing/2014/main" id="{2401CCBD-B908-40D7-87CE-60B0999CE0A6}"/>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1405">
              <a:extLst>
                <a:ext uri="{FF2B5EF4-FFF2-40B4-BE49-F238E27FC236}">
                  <a16:creationId xmlns:a16="http://schemas.microsoft.com/office/drawing/2014/main" id="{E9F9B60B-DC2E-4C62-892C-E074CC0E0D6A}"/>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1406">
              <a:extLst>
                <a:ext uri="{FF2B5EF4-FFF2-40B4-BE49-F238E27FC236}">
                  <a16:creationId xmlns:a16="http://schemas.microsoft.com/office/drawing/2014/main" id="{83E63C12-4047-4942-A648-5A99C38B7D6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6" name="Freeform 1407">
              <a:extLst>
                <a:ext uri="{FF2B5EF4-FFF2-40B4-BE49-F238E27FC236}">
                  <a16:creationId xmlns:a16="http://schemas.microsoft.com/office/drawing/2014/main" id="{DF19F689-A201-4D4C-9286-00602748D168}"/>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1408">
              <a:extLst>
                <a:ext uri="{FF2B5EF4-FFF2-40B4-BE49-F238E27FC236}">
                  <a16:creationId xmlns:a16="http://schemas.microsoft.com/office/drawing/2014/main" id="{1E675628-1DF9-42F4-B99F-31DD9590725C}"/>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1" name="Group 110">
            <a:extLst>
              <a:ext uri="{FF2B5EF4-FFF2-40B4-BE49-F238E27FC236}">
                <a16:creationId xmlns:a16="http://schemas.microsoft.com/office/drawing/2014/main" id="{F6DBDFD6-D8A6-4929-96D8-9BD84B958ED0}"/>
              </a:ext>
            </a:extLst>
          </p:cNvPr>
          <p:cNvGrpSpPr/>
          <p:nvPr/>
        </p:nvGrpSpPr>
        <p:grpSpPr>
          <a:xfrm>
            <a:off x="9053528" y="1944179"/>
            <a:ext cx="463869" cy="463869"/>
            <a:chOff x="8296082" y="2896589"/>
            <a:chExt cx="692371" cy="692371"/>
          </a:xfrm>
        </p:grpSpPr>
        <p:sp>
          <p:nvSpPr>
            <p:cNvPr id="112" name="Freeform 1054">
              <a:extLst>
                <a:ext uri="{FF2B5EF4-FFF2-40B4-BE49-F238E27FC236}">
                  <a16:creationId xmlns:a16="http://schemas.microsoft.com/office/drawing/2014/main" id="{9D21972B-65D8-4889-B202-718D84E40013}"/>
                </a:ext>
              </a:extLst>
            </p:cNvPr>
            <p:cNvSpPr>
              <a:spLocks noEditPoints="1"/>
            </p:cNvSpPr>
            <p:nvPr/>
          </p:nvSpPr>
          <p:spPr bwMode="auto">
            <a:xfrm>
              <a:off x="8296082" y="2896589"/>
              <a:ext cx="692371" cy="692371"/>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5">
              <a:extLst>
                <a:ext uri="{FF2B5EF4-FFF2-40B4-BE49-F238E27FC236}">
                  <a16:creationId xmlns:a16="http://schemas.microsoft.com/office/drawing/2014/main" id="{2048CDE6-65D7-48E9-B853-9EADB10A1E37}"/>
                </a:ext>
              </a:extLst>
            </p:cNvPr>
            <p:cNvSpPr>
              <a:spLocks noEditPoints="1"/>
            </p:cNvSpPr>
            <p:nvPr/>
          </p:nvSpPr>
          <p:spPr bwMode="auto">
            <a:xfrm>
              <a:off x="8550939" y="3149221"/>
              <a:ext cx="175807" cy="175807"/>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14" name="Send" title="Icon of a paper airplane">
            <a:extLst>
              <a:ext uri="{FF2B5EF4-FFF2-40B4-BE49-F238E27FC236}">
                <a16:creationId xmlns:a16="http://schemas.microsoft.com/office/drawing/2014/main" id="{6F1E3061-F4B1-49B6-BC3E-1FDFC79220F1}"/>
              </a:ext>
            </a:extLst>
          </p:cNvPr>
          <p:cNvSpPr>
            <a:spLocks noChangeAspect="1" noEditPoints="1"/>
          </p:cNvSpPr>
          <p:nvPr/>
        </p:nvSpPr>
        <p:spPr bwMode="auto">
          <a:xfrm>
            <a:off x="3401390" y="1975039"/>
            <a:ext cx="491097" cy="328574"/>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accent2"/>
          </a:solidFill>
          <a:ln w="2222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88" name="Arrow: Chevron 87">
            <a:extLst>
              <a:ext uri="{FF2B5EF4-FFF2-40B4-BE49-F238E27FC236}">
                <a16:creationId xmlns:a16="http://schemas.microsoft.com/office/drawing/2014/main" id="{A57ACB99-29AD-4C7F-BB84-51566F86F4F5}"/>
              </a:ext>
            </a:extLst>
          </p:cNvPr>
          <p:cNvSpPr/>
          <p:nvPr/>
        </p:nvSpPr>
        <p:spPr bwMode="auto">
          <a:xfrm flipH="1">
            <a:off x="5277037" y="1952424"/>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9" name="TextBox 88">
            <a:extLst>
              <a:ext uri="{FF2B5EF4-FFF2-40B4-BE49-F238E27FC236}">
                <a16:creationId xmlns:a16="http://schemas.microsoft.com/office/drawing/2014/main" id="{8E2AAE6C-B340-4F9A-8110-ABC8330084E3}"/>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49721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24D0AB11-AA6A-4B9C-BBE9-ECF4D4732996}"/>
              </a:ext>
            </a:extLst>
          </p:cNvPr>
          <p:cNvSpPr/>
          <p:nvPr/>
        </p:nvSpPr>
        <p:spPr bwMode="auto">
          <a:xfrm>
            <a:off x="2556" y="1995424"/>
            <a:ext cx="12189444" cy="1756553"/>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kern="0">
              <a:solidFill>
                <a:srgbClr val="0078D7"/>
              </a:solidFill>
              <a:latin typeface="Segoe UI Semibold" panose="020B0702040204020203" pitchFamily="34" charset="0"/>
              <a:cs typeface="Segoe UI Semibold" panose="020B0702040204020203" pitchFamily="34" charset="0"/>
            </a:endParaRP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a:xfrm>
            <a:off x="356917" y="388772"/>
            <a:ext cx="11306469" cy="403137"/>
          </a:xfrm>
        </p:spPr>
        <p:txBody>
          <a:bodyPr/>
          <a:lstStyle/>
          <a:p>
            <a:r>
              <a:rPr lang="en-US" sz="3200" spc="-50">
                <a:gradFill>
                  <a:gsLst>
                    <a:gs pos="1250">
                      <a:schemeClr val="tx1"/>
                    </a:gs>
                    <a:gs pos="100000">
                      <a:schemeClr val="tx1"/>
                    </a:gs>
                  </a:gsLst>
                  <a:lin ang="5400000" scaled="0"/>
                </a:gradFill>
              </a:rPr>
              <a:t>Azure Fundamentals: Governance  	</a:t>
            </a:r>
          </a:p>
        </p:txBody>
      </p:sp>
      <p:grpSp>
        <p:nvGrpSpPr>
          <p:cNvPr id="13" name="Group 12">
            <a:extLst>
              <a:ext uri="{FF2B5EF4-FFF2-40B4-BE49-F238E27FC236}">
                <a16:creationId xmlns:a16="http://schemas.microsoft.com/office/drawing/2014/main" id="{544162F6-59A0-487D-8F26-122E7AC1B69B}"/>
              </a:ext>
            </a:extLst>
          </p:cNvPr>
          <p:cNvGrpSpPr/>
          <p:nvPr/>
        </p:nvGrpSpPr>
        <p:grpSpPr>
          <a:xfrm>
            <a:off x="356917" y="3155827"/>
            <a:ext cx="2346784" cy="2649524"/>
            <a:chOff x="7145208" y="3231557"/>
            <a:chExt cx="2393842" cy="2702652"/>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7145208" y="3231557"/>
              <a:ext cx="2393842" cy="447641"/>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7145208" y="4004171"/>
              <a:ext cx="2263111" cy="866412"/>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Define </a:t>
              </a:r>
              <a:br>
                <a:rPr lang="en-US" sz="1600">
                  <a:solidFill>
                    <a:srgbClr val="0D0D0D"/>
                  </a:solidFill>
                  <a:latin typeface="Segoe UI" charset="0"/>
                  <a:cs typeface="Segoe UI" charset="0"/>
                </a:rPr>
              </a:br>
              <a:r>
                <a:rPr lang="en-US" sz="1600">
                  <a:solidFill>
                    <a:srgbClr val="0D0D0D"/>
                  </a:solidFill>
                  <a:latin typeface="Segoe UI" charset="0"/>
                  <a:cs typeface="Segoe UI" charset="0"/>
                </a:rPr>
                <a:t>organizational hierarchy</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07143" y="5478526"/>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Hierarchy</a:t>
              </a:r>
            </a:p>
          </p:txBody>
        </p:sp>
      </p:grpSp>
      <p:sp>
        <p:nvSpPr>
          <p:cNvPr id="2" name="Rectangle 1" hidden="1">
            <a:extLst>
              <a:ext uri="{FF2B5EF4-FFF2-40B4-BE49-F238E27FC236}">
                <a16:creationId xmlns:a16="http://schemas.microsoft.com/office/drawing/2014/main" id="{B4F0CFF4-08BA-472C-963C-8B12D64D0B6D}"/>
              </a:ext>
            </a:extLst>
          </p:cNvPr>
          <p:cNvSpPr/>
          <p:nvPr/>
        </p:nvSpPr>
        <p:spPr bwMode="auto">
          <a:xfrm>
            <a:off x="9351533" y="1929503"/>
            <a:ext cx="2840468" cy="4119011"/>
          </a:xfrm>
          <a:prstGeom prst="rect">
            <a:avLst/>
          </a:prstGeom>
          <a:solidFill>
            <a:schemeClr val="bg2">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6" name="Picture 35" descr="A close up of a logo&#10;&#10;Description generated with high confidence">
            <a:extLst>
              <a:ext uri="{FF2B5EF4-FFF2-40B4-BE49-F238E27FC236}">
                <a16:creationId xmlns:a16="http://schemas.microsoft.com/office/drawing/2014/main" id="{665F1F48-4474-4B90-9697-36D2C82A79E7}"/>
              </a:ext>
            </a:extLst>
          </p:cNvPr>
          <p:cNvPicPr>
            <a:picLocks noChangeAspect="1"/>
          </p:cNvPicPr>
          <p:nvPr/>
        </p:nvPicPr>
        <p:blipFill>
          <a:blip r:embed="rId3"/>
          <a:stretch>
            <a:fillRect/>
          </a:stretch>
        </p:blipFill>
        <p:spPr>
          <a:xfrm>
            <a:off x="464424" y="2366002"/>
            <a:ext cx="628250" cy="628250"/>
          </a:xfrm>
          <a:prstGeom prst="rect">
            <a:avLst/>
          </a:prstGeom>
        </p:spPr>
      </p:pic>
      <p:grpSp>
        <p:nvGrpSpPr>
          <p:cNvPr id="5" name="Group 4">
            <a:extLst>
              <a:ext uri="{FF2B5EF4-FFF2-40B4-BE49-F238E27FC236}">
                <a16:creationId xmlns:a16="http://schemas.microsoft.com/office/drawing/2014/main" id="{1292226B-587E-440E-8913-27E58537C829}"/>
              </a:ext>
            </a:extLst>
          </p:cNvPr>
          <p:cNvGrpSpPr/>
          <p:nvPr/>
        </p:nvGrpSpPr>
        <p:grpSpPr>
          <a:xfrm>
            <a:off x="2934587" y="2363766"/>
            <a:ext cx="2094637" cy="3441587"/>
            <a:chOff x="2993431" y="2410668"/>
            <a:chExt cx="2136639" cy="3510598"/>
          </a:xfrm>
        </p:grpSpPr>
        <p:grpSp>
          <p:nvGrpSpPr>
            <p:cNvPr id="3" name="Group 2">
              <a:extLst>
                <a:ext uri="{FF2B5EF4-FFF2-40B4-BE49-F238E27FC236}">
                  <a16:creationId xmlns:a16="http://schemas.microsoft.com/office/drawing/2014/main" id="{C514A634-365E-4544-9933-E61D9C5711BE}"/>
                </a:ext>
              </a:extLst>
            </p:cNvPr>
            <p:cNvGrpSpPr/>
            <p:nvPr/>
          </p:nvGrpSpPr>
          <p:grpSpPr>
            <a:xfrm>
              <a:off x="2993431" y="3218612"/>
              <a:ext cx="2136639" cy="2702654"/>
              <a:chOff x="416226" y="3218612"/>
              <a:chExt cx="2136639" cy="2702654"/>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416226" y="3218612"/>
                <a:ext cx="832499" cy="447641"/>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416226" y="3991227"/>
                <a:ext cx="2136639" cy="1318459"/>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Real-time enforcement, compliance assessment and remediation</a:t>
                </a:r>
              </a:p>
            </p:txBody>
          </p:sp>
          <p:sp>
            <p:nvSpPr>
              <p:cNvPr id="41" name="TextBox 40">
                <a:extLst>
                  <a:ext uri="{FF2B5EF4-FFF2-40B4-BE49-F238E27FC236}">
                    <a16:creationId xmlns:a16="http://schemas.microsoft.com/office/drawing/2014/main" id="{2F1D7D66-F396-4195-8ABD-8B5CD25B9640}"/>
                  </a:ext>
                </a:extLst>
              </p:cNvPr>
              <p:cNvSpPr txBox="1"/>
              <p:nvPr/>
            </p:nvSpPr>
            <p:spPr>
              <a:xfrm>
                <a:off x="416226" y="5465583"/>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Control</a:t>
                </a:r>
              </a:p>
            </p:txBody>
          </p:sp>
        </p:grpSp>
        <p:pic>
          <p:nvPicPr>
            <p:cNvPr id="37" name="Picture 36" descr="A close up of a logo&#10;&#10;Description generated with high confidence">
              <a:extLst>
                <a:ext uri="{FF2B5EF4-FFF2-40B4-BE49-F238E27FC236}">
                  <a16:creationId xmlns:a16="http://schemas.microsoft.com/office/drawing/2014/main" id="{01D6E46F-2A45-4187-AAD6-C957173D27A9}"/>
                </a:ext>
              </a:extLst>
            </p:cNvPr>
            <p:cNvPicPr>
              <a:picLocks noChangeAspect="1"/>
            </p:cNvPicPr>
            <p:nvPr/>
          </p:nvPicPr>
          <p:blipFill>
            <a:blip r:embed="rId4"/>
            <a:stretch>
              <a:fillRect/>
            </a:stretch>
          </p:blipFill>
          <p:spPr>
            <a:xfrm>
              <a:off x="3053481" y="2410668"/>
              <a:ext cx="627848" cy="627848"/>
            </a:xfrm>
            <a:prstGeom prst="rect">
              <a:avLst/>
            </a:prstGeom>
          </p:spPr>
        </p:pic>
      </p:grpSp>
      <p:grpSp>
        <p:nvGrpSpPr>
          <p:cNvPr id="11" name="Group 10">
            <a:extLst>
              <a:ext uri="{FF2B5EF4-FFF2-40B4-BE49-F238E27FC236}">
                <a16:creationId xmlns:a16="http://schemas.microsoft.com/office/drawing/2014/main" id="{C204B51F-B267-4938-AAB3-3C1484987690}"/>
              </a:ext>
            </a:extLst>
          </p:cNvPr>
          <p:cNvGrpSpPr/>
          <p:nvPr/>
        </p:nvGrpSpPr>
        <p:grpSpPr>
          <a:xfrm>
            <a:off x="9543841" y="2463007"/>
            <a:ext cx="2218623" cy="3342344"/>
            <a:chOff x="9735214" y="2511898"/>
            <a:chExt cx="2263111" cy="3409365"/>
          </a:xfrm>
        </p:grpSpPr>
        <p:grpSp>
          <p:nvGrpSpPr>
            <p:cNvPr id="15" name="Group 14">
              <a:extLst>
                <a:ext uri="{FF2B5EF4-FFF2-40B4-BE49-F238E27FC236}">
                  <a16:creationId xmlns:a16="http://schemas.microsoft.com/office/drawing/2014/main" id="{5AD2805E-F1E0-4906-A090-A1647D401C2D}"/>
                </a:ext>
              </a:extLst>
            </p:cNvPr>
            <p:cNvGrpSpPr/>
            <p:nvPr/>
          </p:nvGrpSpPr>
          <p:grpSpPr>
            <a:xfrm>
              <a:off x="9735214" y="3218612"/>
              <a:ext cx="2263111" cy="2702651"/>
              <a:chOff x="9735214" y="3236026"/>
              <a:chExt cx="2263111" cy="2702651"/>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735846" y="3236026"/>
                <a:ext cx="2191113" cy="44764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Cost Management</a:t>
                </a:r>
              </a:p>
            </p:txBody>
          </p:sp>
          <p:sp>
            <p:nvSpPr>
              <p:cNvPr id="32" name="TextBox 31">
                <a:extLst>
                  <a:ext uri="{FF2B5EF4-FFF2-40B4-BE49-F238E27FC236}">
                    <a16:creationId xmlns:a16="http://schemas.microsoft.com/office/drawing/2014/main" id="{E178027B-D40D-42BF-A736-21ABA81529EB}"/>
                  </a:ext>
                </a:extLst>
              </p:cNvPr>
              <p:cNvSpPr txBox="1"/>
              <p:nvPr/>
            </p:nvSpPr>
            <p:spPr>
              <a:xfrm>
                <a:off x="9735214" y="4008945"/>
                <a:ext cx="2263111" cy="866412"/>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Monitor cloud </a:t>
                </a:r>
                <a:br>
                  <a:rPr lang="en-US" sz="1600">
                    <a:solidFill>
                      <a:srgbClr val="0D0D0D"/>
                    </a:solidFill>
                    <a:latin typeface="Segoe UI" charset="0"/>
                    <a:cs typeface="Segoe UI" charset="0"/>
                  </a:rPr>
                </a:br>
                <a:r>
                  <a:rPr lang="en-US" sz="1600">
                    <a:solidFill>
                      <a:srgbClr val="0D0D0D"/>
                    </a:solidFill>
                    <a:latin typeface="Segoe UI" charset="0"/>
                    <a:cs typeface="Segoe UI" charset="0"/>
                  </a:rPr>
                  <a:t>spend and </a:t>
                </a:r>
                <a:br>
                  <a:rPr lang="en-US" sz="1600">
                    <a:solidFill>
                      <a:srgbClr val="0D0D0D"/>
                    </a:solidFill>
                    <a:latin typeface="Segoe UI" charset="0"/>
                    <a:cs typeface="Segoe UI" charset="0"/>
                  </a:rPr>
                </a:br>
                <a:r>
                  <a:rPr lang="en-US" sz="1600">
                    <a:solidFill>
                      <a:srgbClr val="0D0D0D"/>
                    </a:solidFill>
                    <a:latin typeface="Segoe UI" charset="0"/>
                    <a:cs typeface="Segoe UI" charset="0"/>
                  </a:rPr>
                  <a:t>optimize resources</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735214" y="5482994"/>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Consumption</a:t>
                </a:r>
              </a:p>
            </p:txBody>
          </p:sp>
        </p:grpSp>
        <p:sp>
          <p:nvSpPr>
            <p:cNvPr id="46" name="TextBox 45">
              <a:extLst>
                <a:ext uri="{FF2B5EF4-FFF2-40B4-BE49-F238E27FC236}">
                  <a16:creationId xmlns:a16="http://schemas.microsoft.com/office/drawing/2014/main" id="{16A13F46-1230-48E6-BBC5-57B9450BD922}"/>
                </a:ext>
              </a:extLst>
            </p:cNvPr>
            <p:cNvSpPr txBox="1"/>
            <p:nvPr/>
          </p:nvSpPr>
          <p:spPr>
            <a:xfrm>
              <a:off x="10441856" y="2809093"/>
              <a:ext cx="805860" cy="219764"/>
            </a:xfrm>
            <a:prstGeom prst="rect">
              <a:avLst/>
            </a:prstGeom>
            <a:noFill/>
          </p:spPr>
          <p:txBody>
            <a:bodyPr wrap="square" lIns="0" tIns="0" rIns="0" bIns="0" rtlCol="0">
              <a:spAutoFit/>
            </a:bodyPr>
            <a:lstStyle/>
            <a:p>
              <a:pPr defTabSz="914192">
                <a:defRPr/>
              </a:pPr>
              <a:r>
                <a:rPr lang="en-US" sz="1400" kern="0">
                  <a:solidFill>
                    <a:srgbClr val="0078D7"/>
                  </a:solidFill>
                  <a:latin typeface="Segoe UI Semibold" panose="020B0702040204020203" pitchFamily="34" charset="0"/>
                  <a:cs typeface="Segoe UI Semibold" panose="020B0702040204020203" pitchFamily="34" charset="0"/>
                </a:rPr>
                <a:t>NEW</a:t>
              </a:r>
            </a:p>
          </p:txBody>
        </p:sp>
        <p:pic>
          <p:nvPicPr>
            <p:cNvPr id="38" name="Graphic 37">
              <a:extLst>
                <a:ext uri="{FF2B5EF4-FFF2-40B4-BE49-F238E27FC236}">
                  <a16:creationId xmlns:a16="http://schemas.microsoft.com/office/drawing/2014/main" id="{A7AC1B65-F30A-4B9C-80F7-5E49FD3BCD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35214" y="2511898"/>
              <a:ext cx="641069" cy="641069"/>
            </a:xfrm>
            <a:prstGeom prst="rect">
              <a:avLst/>
            </a:prstGeom>
          </p:spPr>
        </p:pic>
      </p:grpSp>
      <p:grpSp>
        <p:nvGrpSpPr>
          <p:cNvPr id="7" name="Group 6">
            <a:extLst>
              <a:ext uri="{FF2B5EF4-FFF2-40B4-BE49-F238E27FC236}">
                <a16:creationId xmlns:a16="http://schemas.microsoft.com/office/drawing/2014/main" id="{1D2AC037-E8C8-4C01-9914-4BB32BDAB369}"/>
              </a:ext>
            </a:extLst>
          </p:cNvPr>
          <p:cNvGrpSpPr/>
          <p:nvPr/>
        </p:nvGrpSpPr>
        <p:grpSpPr>
          <a:xfrm>
            <a:off x="4995431" y="2404740"/>
            <a:ext cx="2124606" cy="3400614"/>
            <a:chOff x="5095599" y="2452463"/>
            <a:chExt cx="2167209" cy="3468803"/>
          </a:xfrm>
        </p:grpSpPr>
        <p:sp>
          <p:nvSpPr>
            <p:cNvPr id="34" name="TextBox 33">
              <a:extLst>
                <a:ext uri="{FF2B5EF4-FFF2-40B4-BE49-F238E27FC236}">
                  <a16:creationId xmlns:a16="http://schemas.microsoft.com/office/drawing/2014/main" id="{3A33413D-446A-4DD9-8CB5-379F9F20D565}"/>
                </a:ext>
              </a:extLst>
            </p:cNvPr>
            <p:cNvSpPr txBox="1"/>
            <p:nvPr/>
          </p:nvSpPr>
          <p:spPr>
            <a:xfrm>
              <a:off x="5960842" y="2809093"/>
              <a:ext cx="805859" cy="219764"/>
            </a:xfrm>
            <a:prstGeom prst="rect">
              <a:avLst/>
            </a:prstGeom>
            <a:noFill/>
          </p:spPr>
          <p:txBody>
            <a:bodyPr wrap="square" lIns="0" tIns="0" rIns="0" bIns="0" rtlCol="0">
              <a:spAutoFit/>
            </a:bodyPr>
            <a:lstStyle/>
            <a:p>
              <a:pPr defTabSz="914192">
                <a:defRPr/>
              </a:pPr>
              <a:r>
                <a:rPr lang="en-US" sz="1400" kern="0">
                  <a:solidFill>
                    <a:srgbClr val="0078D7"/>
                  </a:solidFill>
                  <a:latin typeface="Segoe UI Semibold" panose="020B0702040204020203" pitchFamily="34" charset="0"/>
                  <a:cs typeface="Segoe UI Semibold" panose="020B0702040204020203" pitchFamily="34" charset="0"/>
                </a:rPr>
                <a:t>NEW</a:t>
              </a:r>
            </a:p>
          </p:txBody>
        </p:sp>
        <p:grpSp>
          <p:nvGrpSpPr>
            <p:cNvPr id="6" name="Group 5">
              <a:extLst>
                <a:ext uri="{FF2B5EF4-FFF2-40B4-BE49-F238E27FC236}">
                  <a16:creationId xmlns:a16="http://schemas.microsoft.com/office/drawing/2014/main" id="{D840DC4E-AFB3-43BF-B841-C9A7272B6482}"/>
                </a:ext>
              </a:extLst>
            </p:cNvPr>
            <p:cNvGrpSpPr/>
            <p:nvPr/>
          </p:nvGrpSpPr>
          <p:grpSpPr>
            <a:xfrm>
              <a:off x="5095599" y="3218612"/>
              <a:ext cx="2167209" cy="2702654"/>
              <a:chOff x="2518394" y="3218612"/>
              <a:chExt cx="2167209" cy="2702654"/>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2518394" y="3218612"/>
                <a:ext cx="1290275" cy="447641"/>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2518394" y="3991227"/>
                <a:ext cx="2094971" cy="1318459"/>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Deploy and update cloud environments in a repeatable manner using composable artifacts</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548964" y="5465583"/>
                <a:ext cx="2136639"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Environment</a:t>
                </a:r>
              </a:p>
            </p:txBody>
          </p:sp>
        </p:grpSp>
        <p:pic>
          <p:nvPicPr>
            <p:cNvPr id="40" name="Graphic 39">
              <a:extLst>
                <a:ext uri="{FF2B5EF4-FFF2-40B4-BE49-F238E27FC236}">
                  <a16:creationId xmlns:a16="http://schemas.microsoft.com/office/drawing/2014/main" id="{56E5DB64-C32D-4EF8-A50F-3958F59412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02389" y="2452463"/>
              <a:ext cx="661608" cy="661608"/>
            </a:xfrm>
            <a:prstGeom prst="rect">
              <a:avLst/>
            </a:prstGeom>
          </p:spPr>
        </p:pic>
      </p:grpSp>
      <p:grpSp>
        <p:nvGrpSpPr>
          <p:cNvPr id="9" name="Group 8">
            <a:extLst>
              <a:ext uri="{FF2B5EF4-FFF2-40B4-BE49-F238E27FC236}">
                <a16:creationId xmlns:a16="http://schemas.microsoft.com/office/drawing/2014/main" id="{9B28FAA4-F5F9-4978-AB9C-8E0D6AAF6B61}"/>
              </a:ext>
            </a:extLst>
          </p:cNvPr>
          <p:cNvGrpSpPr/>
          <p:nvPr/>
        </p:nvGrpSpPr>
        <p:grpSpPr>
          <a:xfrm>
            <a:off x="7217961" y="2467203"/>
            <a:ext cx="1970900" cy="3338149"/>
            <a:chOff x="7362695" y="2516179"/>
            <a:chExt cx="2010421" cy="3405086"/>
          </a:xfrm>
        </p:grpSpPr>
        <p:sp>
          <p:nvSpPr>
            <p:cNvPr id="35" name="TextBox 34">
              <a:extLst>
                <a:ext uri="{FF2B5EF4-FFF2-40B4-BE49-F238E27FC236}">
                  <a16:creationId xmlns:a16="http://schemas.microsoft.com/office/drawing/2014/main" id="{F5D17496-A2AC-49A8-A43A-29D6FECF4D05}"/>
                </a:ext>
              </a:extLst>
            </p:cNvPr>
            <p:cNvSpPr txBox="1"/>
            <p:nvPr/>
          </p:nvSpPr>
          <p:spPr>
            <a:xfrm>
              <a:off x="8189585" y="2809093"/>
              <a:ext cx="805859" cy="219764"/>
            </a:xfrm>
            <a:prstGeom prst="rect">
              <a:avLst/>
            </a:prstGeom>
            <a:noFill/>
          </p:spPr>
          <p:txBody>
            <a:bodyPr wrap="square" lIns="0" tIns="0" rIns="0" bIns="0" rtlCol="0">
              <a:spAutoFit/>
            </a:bodyPr>
            <a:lstStyle/>
            <a:p>
              <a:pPr defTabSz="914192">
                <a:defRPr/>
              </a:pPr>
              <a:r>
                <a:rPr lang="en-US" sz="1400" kern="0">
                  <a:solidFill>
                    <a:srgbClr val="0078D7"/>
                  </a:solidFill>
                  <a:latin typeface="Segoe UI Semibold" panose="020B0702040204020203" pitchFamily="34" charset="0"/>
                  <a:cs typeface="Segoe UI Semibold" panose="020B0702040204020203" pitchFamily="34" charset="0"/>
                </a:rPr>
                <a:t>NEW</a:t>
              </a:r>
            </a:p>
          </p:txBody>
        </p:sp>
        <p:grpSp>
          <p:nvGrpSpPr>
            <p:cNvPr id="8" name="Group 7">
              <a:extLst>
                <a:ext uri="{FF2B5EF4-FFF2-40B4-BE49-F238E27FC236}">
                  <a16:creationId xmlns:a16="http://schemas.microsoft.com/office/drawing/2014/main" id="{DA082FC1-43F9-4CD2-86FB-D1C355AE72B7}"/>
                </a:ext>
              </a:extLst>
            </p:cNvPr>
            <p:cNvGrpSpPr/>
            <p:nvPr/>
          </p:nvGrpSpPr>
          <p:grpSpPr>
            <a:xfrm>
              <a:off x="7362695" y="3218612"/>
              <a:ext cx="2010421" cy="2702653"/>
              <a:chOff x="4785490" y="3218613"/>
              <a:chExt cx="2010421" cy="2702653"/>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4785490" y="3218613"/>
                <a:ext cx="1911542" cy="447640"/>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sz="1800"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4785490" y="3991227"/>
                <a:ext cx="2010421" cy="866412"/>
              </a:xfrm>
              <a:prstGeom prst="rect">
                <a:avLst/>
              </a:prstGeom>
              <a:noFill/>
            </p:spPr>
            <p:txBody>
              <a:bodyPr wrap="square" lIns="91427" tIns="91427" rIns="91427" bIns="91427" rtlCol="0">
                <a:spAutoFit/>
              </a:bodyPr>
              <a:lstStyle/>
              <a:p>
                <a:pPr defTabSz="932205">
                  <a:lnSpc>
                    <a:spcPct val="90000"/>
                  </a:lnSpc>
                  <a:defRPr/>
                </a:pPr>
                <a:r>
                  <a:rPr lang="en-US" sz="1600">
                    <a:solidFill>
                      <a:srgbClr val="0D0D0D"/>
                    </a:solidFill>
                    <a:latin typeface="Segoe UI" charset="0"/>
                    <a:cs typeface="Segoe UI" charset="0"/>
                  </a:rPr>
                  <a:t>Query, explore &amp; analyze cloud resources at scale</a:t>
                </a:r>
              </a:p>
            </p:txBody>
          </p:sp>
          <p:sp>
            <p:nvSpPr>
              <p:cNvPr id="42" name="TextBox 41">
                <a:extLst>
                  <a:ext uri="{FF2B5EF4-FFF2-40B4-BE49-F238E27FC236}">
                    <a16:creationId xmlns:a16="http://schemas.microsoft.com/office/drawing/2014/main" id="{524E4218-1D5F-49D7-9235-CFCC93F12ACF}"/>
                  </a:ext>
                </a:extLst>
              </p:cNvPr>
              <p:cNvSpPr txBox="1"/>
              <p:nvPr/>
            </p:nvSpPr>
            <p:spPr>
              <a:xfrm>
                <a:off x="4811488" y="5465583"/>
                <a:ext cx="1984423" cy="455683"/>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568">
                    <a:solidFill>
                      <a:srgbClr val="0078D7"/>
                    </a:solidFill>
                    <a:latin typeface="Segoe UI Semibold"/>
                    <a:cs typeface="Segoe UI" charset="0"/>
                  </a:rPr>
                  <a:t>Visibility</a:t>
                </a:r>
              </a:p>
            </p:txBody>
          </p:sp>
        </p:grpSp>
        <p:pic>
          <p:nvPicPr>
            <p:cNvPr id="49" name="Picture 2">
              <a:extLst>
                <a:ext uri="{FF2B5EF4-FFF2-40B4-BE49-F238E27FC236}">
                  <a16:creationId xmlns:a16="http://schemas.microsoft.com/office/drawing/2014/main" id="{984D4C6A-179F-4A94-9D1E-0CABBB47EF1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93517" y="2516179"/>
              <a:ext cx="545392" cy="545392"/>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60024696-F2BA-421C-8C77-DCBC7E9C1481}"/>
              </a:ext>
            </a:extLst>
          </p:cNvPr>
          <p:cNvSpPr txBox="1"/>
          <p:nvPr/>
        </p:nvSpPr>
        <p:spPr>
          <a:xfrm>
            <a:off x="-1338877" y="736537"/>
            <a:ext cx="11306469"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b="1" spc="-20">
                <a:ln w="3175">
                  <a:noFill/>
                </a:ln>
                <a:solidFill>
                  <a:srgbClr val="0070C0"/>
                </a:solidFill>
                <a:latin typeface="Segoe UI Semibold"/>
                <a:cs typeface="Segoe UI" pitchFamily="34" charset="0"/>
              </a:rPr>
              <a:t>Governance becomes very critical as you scale Azure migration efforts </a:t>
            </a:r>
          </a:p>
        </p:txBody>
      </p:sp>
      <p:sp>
        <p:nvSpPr>
          <p:cNvPr id="47" name="TextBox 46">
            <a:extLst>
              <a:ext uri="{FF2B5EF4-FFF2-40B4-BE49-F238E27FC236}">
                <a16:creationId xmlns:a16="http://schemas.microsoft.com/office/drawing/2014/main" id="{33CB250C-0E66-4C41-9CFE-01382594F577}"/>
              </a:ext>
            </a:extLst>
          </p:cNvPr>
          <p:cNvSpPr txBox="1"/>
          <p:nvPr/>
        </p:nvSpPr>
        <p:spPr>
          <a:xfrm>
            <a:off x="185161" y="6031712"/>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777436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1000"/>
                                        <p:tgtEl>
                                          <p:spTgt spid="39"/>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750" fill="hold"/>
                                        <p:tgtEl>
                                          <p:spTgt spid="13"/>
                                        </p:tgtEl>
                                        <p:attrNameLst>
                                          <p:attrName>ppt_x</p:attrName>
                                        </p:attrNameLst>
                                      </p:cBhvr>
                                      <p:tavLst>
                                        <p:tav tm="0">
                                          <p:val>
                                            <p:strVal val="1+#ppt_w/2"/>
                                          </p:val>
                                        </p:tav>
                                        <p:tav tm="100000">
                                          <p:val>
                                            <p:strVal val="#ppt_x"/>
                                          </p:val>
                                        </p:tav>
                                      </p:tavLst>
                                    </p:anim>
                                    <p:anim calcmode="lin" valueType="num">
                                      <p:cBhvr additive="base">
                                        <p:cTn id="11" dur="75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left)">
                                      <p:cBhvr>
                                        <p:cTn id="16" dur="1000"/>
                                        <p:tgtEl>
                                          <p:spTgt spid="2"/>
                                        </p:tgtEl>
                                      </p:cBhvr>
                                    </p:animEffect>
                                  </p:childTnLst>
                                </p:cTn>
                              </p:par>
                              <p:par>
                                <p:cTn id="17" presetID="2" presetClass="entr" presetSubtype="2" decel="100000"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750" fill="hold"/>
                                        <p:tgtEl>
                                          <p:spTgt spid="36"/>
                                        </p:tgtEl>
                                        <p:attrNameLst>
                                          <p:attrName>ppt_x</p:attrName>
                                        </p:attrNameLst>
                                      </p:cBhvr>
                                      <p:tavLst>
                                        <p:tav tm="0">
                                          <p:val>
                                            <p:strVal val="1+#ppt_w/2"/>
                                          </p:val>
                                        </p:tav>
                                        <p:tav tm="100000">
                                          <p:val>
                                            <p:strVal val="#ppt_x"/>
                                          </p:val>
                                        </p:tav>
                                      </p:tavLst>
                                    </p:anim>
                                    <p:anim calcmode="lin" valueType="num">
                                      <p:cBhvr additive="base">
                                        <p:cTn id="20" dur="750" fill="hold"/>
                                        <p:tgtEl>
                                          <p:spTgt spid="3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25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750" fill="hold"/>
                                        <p:tgtEl>
                                          <p:spTgt spid="5"/>
                                        </p:tgtEl>
                                        <p:attrNameLst>
                                          <p:attrName>ppt_x</p:attrName>
                                        </p:attrNameLst>
                                      </p:cBhvr>
                                      <p:tavLst>
                                        <p:tav tm="0">
                                          <p:val>
                                            <p:strVal val="1+#ppt_w/2"/>
                                          </p:val>
                                        </p:tav>
                                        <p:tav tm="100000">
                                          <p:val>
                                            <p:strVal val="#ppt_x"/>
                                          </p:val>
                                        </p:tav>
                                      </p:tavLst>
                                    </p:anim>
                                    <p:anim calcmode="lin" valueType="num">
                                      <p:cBhvr additive="base">
                                        <p:cTn id="24" dur="750" fill="hold"/>
                                        <p:tgtEl>
                                          <p:spTgt spid="5"/>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5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750" fill="hold"/>
                                        <p:tgtEl>
                                          <p:spTgt spid="7"/>
                                        </p:tgtEl>
                                        <p:attrNameLst>
                                          <p:attrName>ppt_x</p:attrName>
                                        </p:attrNameLst>
                                      </p:cBhvr>
                                      <p:tavLst>
                                        <p:tav tm="0">
                                          <p:val>
                                            <p:strVal val="1+#ppt_w/2"/>
                                          </p:val>
                                        </p:tav>
                                        <p:tav tm="100000">
                                          <p:val>
                                            <p:strVal val="#ppt_x"/>
                                          </p:val>
                                        </p:tav>
                                      </p:tavLst>
                                    </p:anim>
                                    <p:anim calcmode="lin" valueType="num">
                                      <p:cBhvr additive="base">
                                        <p:cTn id="28" dur="750" fill="hold"/>
                                        <p:tgtEl>
                                          <p:spTgt spid="7"/>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7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750" fill="hold"/>
                                        <p:tgtEl>
                                          <p:spTgt spid="9"/>
                                        </p:tgtEl>
                                        <p:attrNameLst>
                                          <p:attrName>ppt_x</p:attrName>
                                        </p:attrNameLst>
                                      </p:cBhvr>
                                      <p:tavLst>
                                        <p:tav tm="0">
                                          <p:val>
                                            <p:strVal val="1+#ppt_w/2"/>
                                          </p:val>
                                        </p:tav>
                                        <p:tav tm="100000">
                                          <p:val>
                                            <p:strVal val="#ppt_x"/>
                                          </p:val>
                                        </p:tav>
                                      </p:tavLst>
                                    </p:anim>
                                    <p:anim calcmode="lin" valueType="num">
                                      <p:cBhvr additive="base">
                                        <p:cTn id="32" dur="750" fill="hold"/>
                                        <p:tgtEl>
                                          <p:spTgt spid="9"/>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100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750" fill="hold"/>
                                        <p:tgtEl>
                                          <p:spTgt spid="11"/>
                                        </p:tgtEl>
                                        <p:attrNameLst>
                                          <p:attrName>ppt_x</p:attrName>
                                        </p:attrNameLst>
                                      </p:cBhvr>
                                      <p:tavLst>
                                        <p:tav tm="0">
                                          <p:val>
                                            <p:strVal val="1+#ppt_w/2"/>
                                          </p:val>
                                        </p:tav>
                                        <p:tav tm="100000">
                                          <p:val>
                                            <p:strVal val="#ppt_x"/>
                                          </p:val>
                                        </p:tav>
                                      </p:tavLst>
                                    </p:anim>
                                    <p:anim calcmode="lin" valueType="num">
                                      <p:cBhvr additive="base">
                                        <p:cTn id="36"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0033B43-53D6-4E5A-86CC-1DA4481090D5}"/>
              </a:ext>
            </a:extLst>
          </p:cNvPr>
          <p:cNvSpPr>
            <a:spLocks noGrp="1"/>
          </p:cNvSpPr>
          <p:nvPr>
            <p:ph type="body" sz="quarter" idx="10"/>
          </p:nvPr>
        </p:nvSpPr>
        <p:spPr>
          <a:xfrm>
            <a:off x="536416" y="2358968"/>
            <a:ext cx="6645647" cy="3210110"/>
          </a:xfrm>
        </p:spPr>
        <p:txBody>
          <a:bodyPr/>
          <a:lstStyle/>
          <a:p>
            <a:pPr lvl="0"/>
            <a:r>
              <a:rPr lang="en-US"/>
              <a:t>As you move</a:t>
            </a:r>
          </a:p>
          <a:p>
            <a:pPr marL="285750" lvl="2" indent="-285750">
              <a:buFont typeface="Arial" panose="020B0604020202020204" pitchFamily="34" charset="0"/>
              <a:buChar char="•"/>
            </a:pPr>
            <a:r>
              <a:rPr lang="en-US"/>
              <a:t>Right-size Azure resources based on assessment guidance</a:t>
            </a:r>
          </a:p>
          <a:p>
            <a:pPr marL="285750" lvl="2" indent="-285750">
              <a:buFont typeface="Arial" panose="020B0604020202020204" pitchFamily="34" charset="0"/>
              <a:buChar char="•"/>
            </a:pPr>
            <a:r>
              <a:rPr lang="en-US"/>
              <a:t>Use Azure Hybrid Benefit and Azure Reserved Instances to save money</a:t>
            </a:r>
          </a:p>
          <a:p>
            <a:pPr lvl="0"/>
            <a:r>
              <a:rPr lang="en-US"/>
              <a:t>After you move</a:t>
            </a:r>
          </a:p>
          <a:p>
            <a:pPr marL="285750" lvl="2" indent="-285750">
              <a:buFont typeface="Arial" panose="020B0604020202020204" pitchFamily="34" charset="0"/>
              <a:buChar char="•"/>
            </a:pPr>
            <a:r>
              <a:rPr lang="en-US"/>
              <a:t>Unified experience to optimize cloud spends: Azure Cost Management</a:t>
            </a:r>
          </a:p>
          <a:p>
            <a:pPr marL="285750" lvl="2" indent="-285750">
              <a:spcBef>
                <a:spcPts val="0"/>
              </a:spcBef>
              <a:spcAft>
                <a:spcPts val="0"/>
              </a:spcAft>
              <a:buFont typeface="Arial" panose="020B0604020202020204" pitchFamily="34" charset="0"/>
              <a:buChar char="•"/>
            </a:pPr>
            <a:r>
              <a:rPr lang="en-US" sz="1600"/>
              <a:t>Azure Advisor: Built-in best practice recommendations </a:t>
            </a:r>
            <a:endParaRPr lang="en-US"/>
          </a:p>
          <a:p>
            <a:pPr lvl="2">
              <a:spcBef>
                <a:spcPts val="0"/>
              </a:spcBef>
              <a:spcAft>
                <a:spcPts val="0"/>
              </a:spcAft>
            </a:pPr>
            <a:r>
              <a:rPr lang="en-US" sz="1600"/>
              <a:t>     (e.g., turn off idle VMs)</a:t>
            </a:r>
          </a:p>
          <a:p>
            <a:r>
              <a:rPr lang="en-US"/>
              <a:t>Modernize for longer term value</a:t>
            </a:r>
          </a:p>
        </p:txBody>
      </p:sp>
      <p:sp>
        <p:nvSpPr>
          <p:cNvPr id="9" name="Title 8">
            <a:extLst>
              <a:ext uri="{FF2B5EF4-FFF2-40B4-BE49-F238E27FC236}">
                <a16:creationId xmlns:a16="http://schemas.microsoft.com/office/drawing/2014/main" id="{14C6FAC2-5B67-4423-AFBB-A78CEA46243E}"/>
              </a:ext>
            </a:extLst>
          </p:cNvPr>
          <p:cNvSpPr>
            <a:spLocks noGrp="1"/>
          </p:cNvSpPr>
          <p:nvPr>
            <p:ph type="title"/>
          </p:nvPr>
        </p:nvSpPr>
        <p:spPr>
          <a:xfrm>
            <a:off x="584200" y="457200"/>
            <a:ext cx="4809836" cy="492443"/>
          </a:xfrm>
        </p:spPr>
        <p:txBody>
          <a:bodyPr/>
          <a:lstStyle/>
          <a:p>
            <a:r>
              <a:rPr lang="en-US"/>
              <a:t>Continuously optimize </a:t>
            </a:r>
            <a:br>
              <a:rPr lang="en-US"/>
            </a:br>
            <a:r>
              <a:rPr lang="en-US"/>
              <a:t>resources during and after migration</a:t>
            </a:r>
          </a:p>
        </p:txBody>
      </p:sp>
      <p:grpSp>
        <p:nvGrpSpPr>
          <p:cNvPr id="3" name="Group 2">
            <a:extLst>
              <a:ext uri="{FF2B5EF4-FFF2-40B4-BE49-F238E27FC236}">
                <a16:creationId xmlns:a16="http://schemas.microsoft.com/office/drawing/2014/main" id="{BD550CEA-3E0D-4F84-BFDA-F48F40F2C7E7}"/>
              </a:ext>
            </a:extLst>
          </p:cNvPr>
          <p:cNvGrpSpPr/>
          <p:nvPr/>
        </p:nvGrpSpPr>
        <p:grpSpPr>
          <a:xfrm>
            <a:off x="6297155" y="110795"/>
            <a:ext cx="5762641" cy="6682570"/>
            <a:chOff x="6217129" y="60960"/>
            <a:chExt cx="5805616" cy="6732405"/>
          </a:xfrm>
        </p:grpSpPr>
        <p:sp>
          <p:nvSpPr>
            <p:cNvPr id="20" name="Rectangle 19">
              <a:extLst>
                <a:ext uri="{FF2B5EF4-FFF2-40B4-BE49-F238E27FC236}">
                  <a16:creationId xmlns:a16="http://schemas.microsoft.com/office/drawing/2014/main" id="{FBDCDC5D-4054-417D-870F-8A19C1DCFE84}"/>
                </a:ext>
              </a:extLst>
            </p:cNvPr>
            <p:cNvSpPr/>
            <p:nvPr/>
          </p:nvSpPr>
          <p:spPr bwMode="auto">
            <a:xfrm>
              <a:off x="6217129" y="4678091"/>
              <a:ext cx="5805616" cy="2072348"/>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 name="Rectangle 7">
              <a:extLst>
                <a:ext uri="{FF2B5EF4-FFF2-40B4-BE49-F238E27FC236}">
                  <a16:creationId xmlns:a16="http://schemas.microsoft.com/office/drawing/2014/main" id="{701BE9BF-80BE-46E6-BA14-A60BB97EEFDE}"/>
                </a:ext>
              </a:extLst>
            </p:cNvPr>
            <p:cNvSpPr/>
            <p:nvPr/>
          </p:nvSpPr>
          <p:spPr bwMode="auto">
            <a:xfrm>
              <a:off x="7463246" y="60960"/>
              <a:ext cx="4206240" cy="4529877"/>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 name="Group 1">
              <a:extLst>
                <a:ext uri="{FF2B5EF4-FFF2-40B4-BE49-F238E27FC236}">
                  <a16:creationId xmlns:a16="http://schemas.microsoft.com/office/drawing/2014/main" id="{F41B9D81-99A1-476D-BFB8-8E39EB77B438}"/>
                </a:ext>
              </a:extLst>
            </p:cNvPr>
            <p:cNvGrpSpPr/>
            <p:nvPr/>
          </p:nvGrpSpPr>
          <p:grpSpPr>
            <a:xfrm>
              <a:off x="6322923" y="4764782"/>
              <a:ext cx="2704574" cy="2028583"/>
              <a:chOff x="6101893" y="1796895"/>
              <a:chExt cx="5810907" cy="3704840"/>
            </a:xfrm>
          </p:grpSpPr>
          <p:grpSp>
            <p:nvGrpSpPr>
              <p:cNvPr id="38" name="Group 37">
                <a:extLst>
                  <a:ext uri="{FF2B5EF4-FFF2-40B4-BE49-F238E27FC236}">
                    <a16:creationId xmlns:a16="http://schemas.microsoft.com/office/drawing/2014/main" id="{BCF1ADD4-9FBD-4924-8173-A3AAD9B839E1}"/>
                  </a:ext>
                </a:extLst>
              </p:cNvPr>
              <p:cNvGrpSpPr/>
              <p:nvPr/>
            </p:nvGrpSpPr>
            <p:grpSpPr>
              <a:xfrm>
                <a:off x="6101893" y="1796895"/>
                <a:ext cx="5810907" cy="3704840"/>
                <a:chOff x="4569387" y="1859015"/>
                <a:chExt cx="7737332" cy="5124635"/>
              </a:xfrm>
            </p:grpSpPr>
            <p:sp>
              <p:nvSpPr>
                <p:cNvPr id="39" name="Rectangle 38">
                  <a:extLst>
                    <a:ext uri="{FF2B5EF4-FFF2-40B4-BE49-F238E27FC236}">
                      <a16:creationId xmlns:a16="http://schemas.microsoft.com/office/drawing/2014/main" id="{4A0A6AB0-91C3-48E2-BAE9-32A68E1D71CE}"/>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0" name="Picture 39">
                  <a:extLst>
                    <a:ext uri="{FF2B5EF4-FFF2-40B4-BE49-F238E27FC236}">
                      <a16:creationId xmlns:a16="http://schemas.microsoft.com/office/drawing/2014/main" id="{FFA464E1-CC30-4207-A677-BBDE0F8CFE5E}"/>
                    </a:ext>
                  </a:extLst>
                </p:cNvPr>
                <p:cNvPicPr>
                  <a:picLocks noChangeAspect="1"/>
                </p:cNvPicPr>
                <p:nvPr/>
              </p:nvPicPr>
              <p:blipFill rotWithShape="1">
                <a:blip r:embed="rId3"/>
                <a:srcRect l="2899" t="8774" r="2880" b="28821"/>
                <a:stretch/>
              </p:blipFill>
              <p:spPr>
                <a:xfrm>
                  <a:off x="4569387" y="1859015"/>
                  <a:ext cx="7737332" cy="5124635"/>
                </a:xfrm>
                <a:prstGeom prst="rect">
                  <a:avLst/>
                </a:prstGeom>
              </p:spPr>
            </p:pic>
          </p:grpSp>
          <p:grpSp>
            <p:nvGrpSpPr>
              <p:cNvPr id="41" name="Group 40">
                <a:extLst>
                  <a:ext uri="{FF2B5EF4-FFF2-40B4-BE49-F238E27FC236}">
                    <a16:creationId xmlns:a16="http://schemas.microsoft.com/office/drawing/2014/main" id="{EDFDEE84-B302-4135-AEC0-065E7E4CA187}"/>
                  </a:ext>
                </a:extLst>
              </p:cNvPr>
              <p:cNvGrpSpPr/>
              <p:nvPr/>
            </p:nvGrpSpPr>
            <p:grpSpPr>
              <a:xfrm>
                <a:off x="6276640" y="1988870"/>
                <a:ext cx="5488163" cy="3004176"/>
                <a:chOff x="5123981" y="3367540"/>
                <a:chExt cx="7162924" cy="4073193"/>
              </a:xfrm>
            </p:grpSpPr>
            <p:pic>
              <p:nvPicPr>
                <p:cNvPr id="42" name="Picture 41">
                  <a:extLst>
                    <a:ext uri="{FF2B5EF4-FFF2-40B4-BE49-F238E27FC236}">
                      <a16:creationId xmlns:a16="http://schemas.microsoft.com/office/drawing/2014/main" id="{00B7C6BE-8265-4B8A-8940-125CC99E9F7E}"/>
                    </a:ext>
                  </a:extLst>
                </p:cNvPr>
                <p:cNvPicPr>
                  <a:picLocks noChangeAspect="1"/>
                </p:cNvPicPr>
                <p:nvPr/>
              </p:nvPicPr>
              <p:blipFill rotWithShape="1">
                <a:blip r:embed="rId4"/>
                <a:srcRect r="3410"/>
                <a:stretch/>
              </p:blipFill>
              <p:spPr>
                <a:xfrm>
                  <a:off x="5123981" y="3367540"/>
                  <a:ext cx="7162924" cy="4073193"/>
                </a:xfrm>
                <a:prstGeom prst="rect">
                  <a:avLst/>
                </a:prstGeom>
              </p:spPr>
            </p:pic>
            <p:sp>
              <p:nvSpPr>
                <p:cNvPr id="51" name="Rectangle 50">
                  <a:extLst>
                    <a:ext uri="{FF2B5EF4-FFF2-40B4-BE49-F238E27FC236}">
                      <a16:creationId xmlns:a16="http://schemas.microsoft.com/office/drawing/2014/main" id="{57AE1BFE-DEBF-43EB-AFCD-58E31F52DF0D}"/>
                    </a:ext>
                  </a:extLst>
                </p:cNvPr>
                <p:cNvSpPr/>
                <p:nvPr/>
              </p:nvSpPr>
              <p:spPr bwMode="auto">
                <a:xfrm>
                  <a:off x="11663584" y="3376774"/>
                  <a:ext cx="147761" cy="116600"/>
                </a:xfrm>
                <a:prstGeom prst="rect">
                  <a:avLst/>
                </a:prstGeom>
                <a:solidFill>
                  <a:srgbClr val="1C1C1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pic>
          <p:nvPicPr>
            <p:cNvPr id="5" name="Picture 4">
              <a:extLst>
                <a:ext uri="{FF2B5EF4-FFF2-40B4-BE49-F238E27FC236}">
                  <a16:creationId xmlns:a16="http://schemas.microsoft.com/office/drawing/2014/main" id="{F0F23704-CDB7-46F8-8B21-DF42B1B8C20B}"/>
                </a:ext>
              </a:extLst>
            </p:cNvPr>
            <p:cNvPicPr>
              <a:picLocks noChangeAspect="1"/>
            </p:cNvPicPr>
            <p:nvPr/>
          </p:nvPicPr>
          <p:blipFill>
            <a:blip r:embed="rId5"/>
            <a:stretch>
              <a:fillRect/>
            </a:stretch>
          </p:blipFill>
          <p:spPr>
            <a:xfrm>
              <a:off x="7837786" y="2493819"/>
              <a:ext cx="3456685" cy="1823761"/>
            </a:xfrm>
            <a:prstGeom prst="rect">
              <a:avLst/>
            </a:prstGeom>
          </p:spPr>
        </p:pic>
        <p:pic>
          <p:nvPicPr>
            <p:cNvPr id="7" name="Picture 6">
              <a:extLst>
                <a:ext uri="{FF2B5EF4-FFF2-40B4-BE49-F238E27FC236}">
                  <a16:creationId xmlns:a16="http://schemas.microsoft.com/office/drawing/2014/main" id="{79711AD8-9D54-4F96-8323-5CD1E8BEE150}"/>
                </a:ext>
              </a:extLst>
            </p:cNvPr>
            <p:cNvPicPr>
              <a:picLocks noChangeAspect="1"/>
            </p:cNvPicPr>
            <p:nvPr/>
          </p:nvPicPr>
          <p:blipFill>
            <a:blip r:embed="rId6"/>
            <a:stretch>
              <a:fillRect/>
            </a:stretch>
          </p:blipFill>
          <p:spPr>
            <a:xfrm>
              <a:off x="7837786" y="393269"/>
              <a:ext cx="3456684" cy="1740039"/>
            </a:xfrm>
            <a:prstGeom prst="rect">
              <a:avLst/>
            </a:prstGeom>
          </p:spPr>
        </p:pic>
        <p:pic>
          <p:nvPicPr>
            <p:cNvPr id="18" name="Picture 17">
              <a:extLst>
                <a:ext uri="{FF2B5EF4-FFF2-40B4-BE49-F238E27FC236}">
                  <a16:creationId xmlns:a16="http://schemas.microsoft.com/office/drawing/2014/main" id="{E734D851-128E-4347-A351-52A89A4C470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9172834" y="4848868"/>
              <a:ext cx="2704574" cy="1730793"/>
            </a:xfrm>
            <a:prstGeom prst="rect">
              <a:avLst/>
            </a:prstGeom>
            <a:noFill/>
            <a:ln>
              <a:noFill/>
            </a:ln>
          </p:spPr>
        </p:pic>
      </p:grpSp>
      <p:sp>
        <p:nvSpPr>
          <p:cNvPr id="17" name="TextBox 16">
            <a:extLst>
              <a:ext uri="{FF2B5EF4-FFF2-40B4-BE49-F238E27FC236}">
                <a16:creationId xmlns:a16="http://schemas.microsoft.com/office/drawing/2014/main" id="{8CE4F825-368F-4D51-8A6C-FAE728634A5C}"/>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46500776"/>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FEB8-873C-45D4-9E95-9BCD0D93F1DA}"/>
              </a:ext>
            </a:extLst>
          </p:cNvPr>
          <p:cNvSpPr>
            <a:spLocks noGrp="1"/>
          </p:cNvSpPr>
          <p:nvPr>
            <p:ph type="title"/>
          </p:nvPr>
        </p:nvSpPr>
        <p:spPr>
          <a:xfrm>
            <a:off x="457200" y="2819602"/>
            <a:ext cx="11734799" cy="609398"/>
          </a:xfrm>
        </p:spPr>
        <p:txBody>
          <a:bodyPr/>
          <a:lstStyle/>
          <a:p>
            <a:r>
              <a:rPr lang="en-US"/>
              <a:t>Key resources and investments</a:t>
            </a:r>
          </a:p>
        </p:txBody>
      </p:sp>
      <p:sp>
        <p:nvSpPr>
          <p:cNvPr id="3" name="TextBox 2">
            <a:extLst>
              <a:ext uri="{FF2B5EF4-FFF2-40B4-BE49-F238E27FC236}">
                <a16:creationId xmlns:a16="http://schemas.microsoft.com/office/drawing/2014/main" id="{1585CE85-3359-4BCE-BFE2-A977B37474F0}"/>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3857283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F28D2-4AC0-4F0B-A7DA-ABAC8302A693}"/>
              </a:ext>
            </a:extLst>
          </p:cNvPr>
          <p:cNvSpPr>
            <a:spLocks noGrp="1"/>
          </p:cNvSpPr>
          <p:nvPr>
            <p:ph type="title"/>
          </p:nvPr>
        </p:nvSpPr>
        <p:spPr/>
        <p:txBody>
          <a:bodyPr/>
          <a:lstStyle/>
          <a:p>
            <a:r>
              <a:rPr lang="en-US"/>
              <a:t>Key elements to successful migrations </a:t>
            </a:r>
          </a:p>
        </p:txBody>
      </p:sp>
      <p:sp>
        <p:nvSpPr>
          <p:cNvPr id="5" name="TextBox 4">
            <a:extLst>
              <a:ext uri="{FF2B5EF4-FFF2-40B4-BE49-F238E27FC236}">
                <a16:creationId xmlns:a16="http://schemas.microsoft.com/office/drawing/2014/main" id="{9B40A4C6-E794-4C8C-9E51-3C23C8C5609D}"/>
              </a:ext>
            </a:extLst>
          </p:cNvPr>
          <p:cNvSpPr txBox="1"/>
          <p:nvPr/>
        </p:nvSpPr>
        <p:spPr>
          <a:xfrm>
            <a:off x="942376" y="1855347"/>
            <a:ext cx="4949480"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Migration approach</a:t>
            </a:r>
          </a:p>
        </p:txBody>
      </p:sp>
      <p:sp>
        <p:nvSpPr>
          <p:cNvPr id="10" name="strategy" title="Icon of two circles and a curved arrow winding between three exes connecting them">
            <a:extLst>
              <a:ext uri="{FF2B5EF4-FFF2-40B4-BE49-F238E27FC236}">
                <a16:creationId xmlns:a16="http://schemas.microsoft.com/office/drawing/2014/main" id="{DE70A44F-940E-4FEB-B5F3-71AE3DBA71BD}"/>
              </a:ext>
            </a:extLst>
          </p:cNvPr>
          <p:cNvSpPr>
            <a:spLocks noChangeAspect="1" noEditPoints="1"/>
          </p:cNvSpPr>
          <p:nvPr/>
        </p:nvSpPr>
        <p:spPr bwMode="auto">
          <a:xfrm>
            <a:off x="414538" y="1934169"/>
            <a:ext cx="426165" cy="5677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rgbClr val="0070C0"/>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3200">
              <a:solidFill>
                <a:srgbClr val="3C3C41"/>
              </a:solidFill>
              <a:latin typeface="Segoe UI"/>
            </a:endParaRPr>
          </a:p>
        </p:txBody>
      </p:sp>
      <p:sp>
        <p:nvSpPr>
          <p:cNvPr id="6" name="TextBox 5">
            <a:extLst>
              <a:ext uri="{FF2B5EF4-FFF2-40B4-BE49-F238E27FC236}">
                <a16:creationId xmlns:a16="http://schemas.microsoft.com/office/drawing/2014/main" id="{ABF06638-967C-456F-9794-F156087AB1B2}"/>
              </a:ext>
            </a:extLst>
          </p:cNvPr>
          <p:cNvSpPr txBox="1"/>
          <p:nvPr/>
        </p:nvSpPr>
        <p:spPr>
          <a:xfrm>
            <a:off x="2702832" y="3377828"/>
            <a:ext cx="3729880"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Offers</a:t>
            </a:r>
          </a:p>
        </p:txBody>
      </p:sp>
      <p:sp>
        <p:nvSpPr>
          <p:cNvPr id="11" name="money_2" title="Icon of a dollar sign with an arrow around it pointing clockwise">
            <a:extLst>
              <a:ext uri="{FF2B5EF4-FFF2-40B4-BE49-F238E27FC236}">
                <a16:creationId xmlns:a16="http://schemas.microsoft.com/office/drawing/2014/main" id="{EB069EA4-B01A-438B-94B1-76DA1721B76A}"/>
              </a:ext>
            </a:extLst>
          </p:cNvPr>
          <p:cNvSpPr>
            <a:spLocks noChangeAspect="1" noEditPoints="1"/>
          </p:cNvSpPr>
          <p:nvPr/>
        </p:nvSpPr>
        <p:spPr bwMode="auto">
          <a:xfrm>
            <a:off x="2130130" y="3486915"/>
            <a:ext cx="523574" cy="55204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rgbClr val="0070C0"/>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3200">
              <a:gradFill>
                <a:gsLst>
                  <a:gs pos="0">
                    <a:srgbClr val="505050"/>
                  </a:gs>
                  <a:gs pos="100000">
                    <a:srgbClr val="505050"/>
                  </a:gs>
                </a:gsLst>
                <a:lin ang="5400000" scaled="1"/>
              </a:gradFill>
              <a:latin typeface="Segoe UI"/>
            </a:endParaRPr>
          </a:p>
        </p:txBody>
      </p:sp>
      <p:sp>
        <p:nvSpPr>
          <p:cNvPr id="9" name="TextBox 8">
            <a:extLst>
              <a:ext uri="{FF2B5EF4-FFF2-40B4-BE49-F238E27FC236}">
                <a16:creationId xmlns:a16="http://schemas.microsoft.com/office/drawing/2014/main" id="{2B2AD5D8-568A-4272-A1DE-BEEF9FCD5AB3}"/>
              </a:ext>
            </a:extLst>
          </p:cNvPr>
          <p:cNvSpPr txBox="1"/>
          <p:nvPr/>
        </p:nvSpPr>
        <p:spPr>
          <a:xfrm>
            <a:off x="6855280" y="3419964"/>
            <a:ext cx="4960416"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Migration partners </a:t>
            </a:r>
          </a:p>
        </p:txBody>
      </p:sp>
      <p:sp>
        <p:nvSpPr>
          <p:cNvPr id="12" name="people_12" title="Icon of three people">
            <a:extLst>
              <a:ext uri="{FF2B5EF4-FFF2-40B4-BE49-F238E27FC236}">
                <a16:creationId xmlns:a16="http://schemas.microsoft.com/office/drawing/2014/main" id="{2E64365A-6DF7-4E43-93DE-B3EEA495C9D1}"/>
              </a:ext>
            </a:extLst>
          </p:cNvPr>
          <p:cNvSpPr>
            <a:spLocks noChangeAspect="1" noEditPoints="1"/>
          </p:cNvSpPr>
          <p:nvPr/>
        </p:nvSpPr>
        <p:spPr bwMode="auto">
          <a:xfrm>
            <a:off x="6235290" y="3555676"/>
            <a:ext cx="570862" cy="48704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3200">
              <a:solidFill>
                <a:srgbClr val="3C3C41"/>
              </a:solidFill>
              <a:latin typeface="Segoe UI"/>
            </a:endParaRPr>
          </a:p>
        </p:txBody>
      </p:sp>
      <p:sp>
        <p:nvSpPr>
          <p:cNvPr id="8" name="TextBox 7">
            <a:extLst>
              <a:ext uri="{FF2B5EF4-FFF2-40B4-BE49-F238E27FC236}">
                <a16:creationId xmlns:a16="http://schemas.microsoft.com/office/drawing/2014/main" id="{E33534DC-8146-4733-93AA-5A5C631D2C74}"/>
              </a:ext>
            </a:extLst>
          </p:cNvPr>
          <p:cNvSpPr txBox="1"/>
          <p:nvPr/>
        </p:nvSpPr>
        <p:spPr>
          <a:xfrm>
            <a:off x="5215005" y="5002598"/>
            <a:ext cx="3718944"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Training </a:t>
            </a:r>
          </a:p>
        </p:txBody>
      </p:sp>
      <p:sp>
        <p:nvSpPr>
          <p:cNvPr id="13" name="Ribbon2_F19B" title="Icon of a star shaped ribbon">
            <a:extLst>
              <a:ext uri="{FF2B5EF4-FFF2-40B4-BE49-F238E27FC236}">
                <a16:creationId xmlns:a16="http://schemas.microsoft.com/office/drawing/2014/main" id="{ECB49B35-7F2E-4C04-8CBF-330A037E4B98}"/>
              </a:ext>
            </a:extLst>
          </p:cNvPr>
          <p:cNvSpPr>
            <a:spLocks noChangeAspect="1" noEditPoints="1"/>
          </p:cNvSpPr>
          <p:nvPr/>
        </p:nvSpPr>
        <p:spPr bwMode="auto">
          <a:xfrm>
            <a:off x="4769774" y="5084942"/>
            <a:ext cx="347751" cy="487046"/>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3200">
              <a:solidFill>
                <a:srgbClr val="3C3C41"/>
              </a:solidFill>
              <a:latin typeface="Segoe UI"/>
            </a:endParaRPr>
          </a:p>
        </p:txBody>
      </p:sp>
      <p:sp>
        <p:nvSpPr>
          <p:cNvPr id="7" name="TextBox 6">
            <a:extLst>
              <a:ext uri="{FF2B5EF4-FFF2-40B4-BE49-F238E27FC236}">
                <a16:creationId xmlns:a16="http://schemas.microsoft.com/office/drawing/2014/main" id="{7DFAD1B6-DE68-481C-B878-84C616CD6760}"/>
              </a:ext>
            </a:extLst>
          </p:cNvPr>
          <p:cNvSpPr txBox="1"/>
          <p:nvPr/>
        </p:nvSpPr>
        <p:spPr>
          <a:xfrm>
            <a:off x="7470548" y="1934169"/>
            <a:ext cx="3729880" cy="788255"/>
          </a:xfrm>
          <a:prstGeom prst="rect">
            <a:avLst/>
          </a:prstGeom>
          <a:noFill/>
        </p:spPr>
        <p:txBody>
          <a:bodyPr wrap="square" lIns="179285" tIns="143428" rIns="179285" bIns="143428" rtlCol="0">
            <a:spAutoFit/>
          </a:bodyPr>
          <a:lstStyle/>
          <a:p>
            <a:pPr>
              <a:lnSpc>
                <a:spcPct val="90000"/>
              </a:lnSpc>
              <a:spcAft>
                <a:spcPts val="588"/>
              </a:spcAft>
            </a:pPr>
            <a:r>
              <a:rPr lang="en-US" sz="3600">
                <a:gradFill>
                  <a:gsLst>
                    <a:gs pos="2917">
                      <a:srgbClr val="3C3C41"/>
                    </a:gs>
                    <a:gs pos="30000">
                      <a:srgbClr val="3C3C41"/>
                    </a:gs>
                  </a:gsLst>
                  <a:lin ang="5400000" scaled="0"/>
                </a:gradFill>
                <a:latin typeface="Segoe UI"/>
              </a:rPr>
              <a:t>Migration Tools</a:t>
            </a:r>
          </a:p>
        </p:txBody>
      </p:sp>
      <p:sp>
        <p:nvSpPr>
          <p:cNvPr id="14" name="tool" title="Icon of a skrewdriver and wrench">
            <a:extLst>
              <a:ext uri="{FF2B5EF4-FFF2-40B4-BE49-F238E27FC236}">
                <a16:creationId xmlns:a16="http://schemas.microsoft.com/office/drawing/2014/main" id="{CC037E73-1604-4C6B-81A6-6FB7254793BA}"/>
              </a:ext>
            </a:extLst>
          </p:cNvPr>
          <p:cNvSpPr>
            <a:spLocks noChangeAspect="1" noEditPoints="1"/>
          </p:cNvSpPr>
          <p:nvPr/>
        </p:nvSpPr>
        <p:spPr bwMode="auto">
          <a:xfrm>
            <a:off x="6961591" y="2048531"/>
            <a:ext cx="345766" cy="48704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0070C0"/>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3200">
              <a:gradFill>
                <a:gsLst>
                  <a:gs pos="0">
                    <a:srgbClr val="505050"/>
                  </a:gs>
                  <a:gs pos="100000">
                    <a:srgbClr val="505050"/>
                  </a:gs>
                </a:gsLst>
              </a:gradFill>
              <a:latin typeface="Segoe UI"/>
            </a:endParaRPr>
          </a:p>
        </p:txBody>
      </p:sp>
      <p:sp>
        <p:nvSpPr>
          <p:cNvPr id="15" name="TextBox 14">
            <a:extLst>
              <a:ext uri="{FF2B5EF4-FFF2-40B4-BE49-F238E27FC236}">
                <a16:creationId xmlns:a16="http://schemas.microsoft.com/office/drawing/2014/main" id="{4FE632C8-8EC4-4F08-8E5F-26770F8783F3}"/>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75245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449BB-1BF2-4BB0-846A-CF44317EF9D8}"/>
              </a:ext>
            </a:extLst>
          </p:cNvPr>
          <p:cNvSpPr>
            <a:spLocks noGrp="1"/>
          </p:cNvSpPr>
          <p:nvPr>
            <p:ph type="title"/>
          </p:nvPr>
        </p:nvSpPr>
        <p:spPr/>
        <p:txBody>
          <a:bodyPr/>
          <a:lstStyle/>
          <a:p>
            <a:r>
              <a:rPr lang="en-US"/>
              <a:t>Migration approach</a:t>
            </a:r>
            <a:br>
              <a:rPr lang="en-US"/>
            </a:br>
            <a:br>
              <a:rPr lang="en-US"/>
            </a:br>
            <a:endParaRPr lang="en-US"/>
          </a:p>
        </p:txBody>
      </p:sp>
      <p:sp>
        <p:nvSpPr>
          <p:cNvPr id="6" name="TextBox 5">
            <a:extLst>
              <a:ext uri="{FF2B5EF4-FFF2-40B4-BE49-F238E27FC236}">
                <a16:creationId xmlns:a16="http://schemas.microsoft.com/office/drawing/2014/main" id="{8ABC1669-768D-4987-9622-2CF7C7DD5680}"/>
              </a:ext>
            </a:extLst>
          </p:cNvPr>
          <p:cNvSpPr txBox="1"/>
          <p:nvPr/>
        </p:nvSpPr>
        <p:spPr>
          <a:xfrm>
            <a:off x="1773067" y="5831812"/>
            <a:ext cx="2613088" cy="5447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sng" strike="noStrike" kern="1200" cap="none" spc="0" normalizeH="0" baseline="0" noProof="0">
                <a:ln>
                  <a:noFill/>
                </a:ln>
                <a:solidFill>
                  <a:srgbClr val="0078D7"/>
                </a:solidFill>
                <a:effectLst/>
                <a:uLnTx/>
                <a:uFillTx/>
                <a:latin typeface="+mj-lt"/>
                <a:ea typeface="+mn-ea"/>
                <a:cs typeface="+mn-cs"/>
              </a:rPr>
              <a:t>Azure.com/Migration</a:t>
            </a:r>
          </a:p>
        </p:txBody>
      </p:sp>
      <p:pic>
        <p:nvPicPr>
          <p:cNvPr id="5" name="Picture 4">
            <a:extLst>
              <a:ext uri="{FF2B5EF4-FFF2-40B4-BE49-F238E27FC236}">
                <a16:creationId xmlns:a16="http://schemas.microsoft.com/office/drawing/2014/main" id="{37F2C9D9-E410-4A76-9B7B-054F9F7E129F}"/>
              </a:ext>
            </a:extLst>
          </p:cNvPr>
          <p:cNvPicPr>
            <a:picLocks noChangeAspect="1"/>
          </p:cNvPicPr>
          <p:nvPr/>
        </p:nvPicPr>
        <p:blipFill>
          <a:blip r:embed="rId6"/>
          <a:stretch>
            <a:fillRect/>
          </a:stretch>
        </p:blipFill>
        <p:spPr>
          <a:xfrm>
            <a:off x="6453411" y="2110003"/>
            <a:ext cx="5087389" cy="3703320"/>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42D1E7C3-980B-4420-BDB5-17379460C7DF}"/>
              </a:ext>
            </a:extLst>
          </p:cNvPr>
          <p:cNvSpPr/>
          <p:nvPr/>
        </p:nvSpPr>
        <p:spPr>
          <a:xfrm>
            <a:off x="7315200" y="5919528"/>
            <a:ext cx="3828558" cy="369332"/>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srgbClr val="1A1A1A"/>
                </a:solidFill>
                <a:effectLst/>
                <a:uLnTx/>
                <a:uFillTx/>
                <a:latin typeface="+mj-lt"/>
                <a:ea typeface="+mn-ea"/>
                <a:cs typeface="+mn-cs"/>
                <a:hlinkClick r:id="rId7"/>
              </a:rPr>
              <a:t>aka.ms/</a:t>
            </a:r>
            <a:r>
              <a:rPr kumimoji="0" lang="en-US" sz="1800" b="0" i="0" u="sng" strike="noStrike" kern="1200" cap="none" spc="0" normalizeH="0" baseline="0" noProof="0" err="1">
                <a:ln>
                  <a:noFill/>
                </a:ln>
                <a:solidFill>
                  <a:srgbClr val="1A1A1A"/>
                </a:solidFill>
                <a:effectLst/>
                <a:uLnTx/>
                <a:uFillTx/>
                <a:latin typeface="+mj-lt"/>
                <a:ea typeface="+mn-ea"/>
                <a:cs typeface="+mn-cs"/>
                <a:hlinkClick r:id="rId7"/>
              </a:rPr>
              <a:t>contoso</a:t>
            </a:r>
            <a:r>
              <a:rPr kumimoji="0" lang="en-US" sz="1800" b="0" i="0" u="sng" strike="noStrike" kern="1200" cap="none" spc="0" normalizeH="0" baseline="0" noProof="0">
                <a:ln>
                  <a:noFill/>
                </a:ln>
                <a:solidFill>
                  <a:srgbClr val="1A1A1A"/>
                </a:solidFill>
                <a:effectLst/>
                <a:uLnTx/>
                <a:uFillTx/>
                <a:latin typeface="+mj-lt"/>
                <a:ea typeface="+mn-ea"/>
                <a:cs typeface="+mn-cs"/>
                <a:hlinkClick r:id="rId7"/>
              </a:rPr>
              <a:t>-migration</a:t>
            </a:r>
            <a:endParaRPr kumimoji="0" lang="en-US" sz="1800" b="0" i="0" u="sng" strike="noStrike" kern="1200" cap="none" spc="0" normalizeH="0" baseline="0" noProof="0">
              <a:ln>
                <a:noFill/>
              </a:ln>
              <a:solidFill>
                <a:srgbClr val="1A1A1A"/>
              </a:solidFill>
              <a:effectLst/>
              <a:uLnTx/>
              <a:uFillTx/>
              <a:latin typeface="+mj-lt"/>
              <a:ea typeface="+mn-ea"/>
              <a:cs typeface="+mn-cs"/>
            </a:endParaRPr>
          </a:p>
        </p:txBody>
      </p:sp>
      <p:sp>
        <p:nvSpPr>
          <p:cNvPr id="7" name="TextBox 6">
            <a:extLst>
              <a:ext uri="{FF2B5EF4-FFF2-40B4-BE49-F238E27FC236}">
                <a16:creationId xmlns:a16="http://schemas.microsoft.com/office/drawing/2014/main" id="{B1D27A3D-6DC2-45FF-99EF-5C2F7556BFE4}"/>
              </a:ext>
            </a:extLst>
          </p:cNvPr>
          <p:cNvSpPr txBox="1"/>
          <p:nvPr/>
        </p:nvSpPr>
        <p:spPr>
          <a:xfrm>
            <a:off x="1220732" y="1347066"/>
            <a:ext cx="3717758"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All things migration</a:t>
            </a:r>
          </a:p>
          <a:p>
            <a:pPr algn="ctr"/>
            <a:r>
              <a:rPr lang="en-US" sz="2000">
                <a:gradFill>
                  <a:gsLst>
                    <a:gs pos="2917">
                      <a:schemeClr val="tx1"/>
                    </a:gs>
                    <a:gs pos="30000">
                      <a:schemeClr val="tx1"/>
                    </a:gs>
                  </a:gsLst>
                  <a:lin ang="5400000" scaled="0"/>
                </a:gradFill>
              </a:rPr>
              <a:t>(guidance, tools, support) </a:t>
            </a:r>
          </a:p>
        </p:txBody>
      </p:sp>
      <p:sp>
        <p:nvSpPr>
          <p:cNvPr id="11" name="TextBox 10">
            <a:extLst>
              <a:ext uri="{FF2B5EF4-FFF2-40B4-BE49-F238E27FC236}">
                <a16:creationId xmlns:a16="http://schemas.microsoft.com/office/drawing/2014/main" id="{71A3336F-3D44-4DF1-B763-CD9F44B0B108}"/>
              </a:ext>
            </a:extLst>
          </p:cNvPr>
          <p:cNvSpPr txBox="1"/>
          <p:nvPr/>
        </p:nvSpPr>
        <p:spPr>
          <a:xfrm>
            <a:off x="7138226" y="1263315"/>
            <a:ext cx="3717758" cy="615553"/>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Detailed walkthrough of different migration scenarios</a:t>
            </a:r>
          </a:p>
        </p:txBody>
      </p:sp>
      <p:pic>
        <p:nvPicPr>
          <p:cNvPr id="10" name="AMC_2019_02_08">
            <a:hlinkClick r:id="" action="ppaction://media"/>
            <a:extLst>
              <a:ext uri="{FF2B5EF4-FFF2-40B4-BE49-F238E27FC236}">
                <a16:creationId xmlns:a16="http://schemas.microsoft.com/office/drawing/2014/main" id="{CBEA83C1-3E24-4F2B-8E87-649A47DF1FD2}"/>
              </a:ext>
            </a:extLst>
          </p:cNvPr>
          <p:cNvPicPr>
            <a:picLocks noChangeAspect="1"/>
          </p:cNvPicPr>
          <p:nvPr>
            <a:videoFile r:link="rId2"/>
            <p:extLst>
              <p:ext uri="{DAA4B4D4-6D71-4841-9C94-3DE7FCFB9230}">
                <p14:media xmlns:p14="http://schemas.microsoft.com/office/powerpoint/2010/main" r:embed="rId3">
                  <p14:trim st="2016" end="661.3"/>
                </p14:media>
              </p:ext>
            </p:extLst>
          </p:nvPr>
        </p:nvPicPr>
        <p:blipFill>
          <a:blip r:embed="rId8"/>
          <a:stretch>
            <a:fillRect/>
          </a:stretch>
        </p:blipFill>
        <p:spPr>
          <a:xfrm>
            <a:off x="0" y="2225626"/>
            <a:ext cx="6194884" cy="3484681"/>
          </a:xfrm>
          <a:prstGeom prst="rect">
            <a:avLst/>
          </a:prstGeom>
        </p:spPr>
      </p:pic>
      <p:sp>
        <p:nvSpPr>
          <p:cNvPr id="12" name="TextBox 11">
            <a:extLst>
              <a:ext uri="{FF2B5EF4-FFF2-40B4-BE49-F238E27FC236}">
                <a16:creationId xmlns:a16="http://schemas.microsoft.com/office/drawing/2014/main" id="{105F7AF6-6CA8-43EB-AE9C-94F631169602}"/>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90649649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1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repeatCount="indefinite" fill="hold" display="0">
                  <p:stCondLst>
                    <p:cond delay="indefinite"/>
                  </p:stCondLst>
                </p:cTn>
                <p:tgtEl>
                  <p:spTgt spid="10"/>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489110"/>
            <a:ext cx="10630414" cy="120032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3200" dirty="0">
                <a:solidFill>
                  <a:srgbClr val="000000"/>
                </a:solidFill>
                <a:latin typeface="Segoe UI" panose="020B0502040204020203" pitchFamily="34" charset="0"/>
                <a:cs typeface="Segoe UI" panose="020B0502040204020203" pitchFamily="34" charset="0"/>
                <a:hlinkClick r:id="rId3"/>
              </a:rPr>
              <a:t>https://aka.ms/caf</a:t>
            </a:r>
            <a:endParaRPr kumimoji="0" lang="en-US" sz="3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50569" y="1396136"/>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73637" y="1286000"/>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8" name="TextBox 67">
            <a:extLst>
              <a:ext uri="{FF2B5EF4-FFF2-40B4-BE49-F238E27FC236}">
                <a16:creationId xmlns:a16="http://schemas.microsoft.com/office/drawing/2014/main" id="{8742D578-E1FC-40B7-A75E-C07EDA56CA12}"/>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0 0.04491 L 0 -2.96296E-6 " pathEditMode="relative" rAng="0" ptsTypes="AA">
                                      <p:cBhvr>
                                        <p:cTn id="62" dur="600" fill="hold"/>
                                        <p:tgtEl>
                                          <p:spTgt spid="2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176C9AF-8D7A-4667-8DD6-0CE1E6F208FC}"/>
              </a:ext>
            </a:extLst>
          </p:cNvPr>
          <p:cNvSpPr/>
          <p:nvPr/>
        </p:nvSpPr>
        <p:spPr bwMode="auto">
          <a:xfrm>
            <a:off x="2068476" y="1977926"/>
            <a:ext cx="8011886" cy="418524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96476A6-C6D6-4DA6-82B8-1ED1A33C6794}"/>
              </a:ext>
            </a:extLst>
          </p:cNvPr>
          <p:cNvCxnSpPr>
            <a:cxnSpLocks/>
          </p:cNvCxnSpPr>
          <p:nvPr/>
        </p:nvCxnSpPr>
        <p:spPr>
          <a:xfrm>
            <a:off x="423863" y="3717622"/>
            <a:ext cx="5672137" cy="244792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90D6DDE-98B3-4D63-A518-BB605747D197}"/>
              </a:ext>
            </a:extLst>
          </p:cNvPr>
          <p:cNvCxnSpPr>
            <a:cxnSpLocks/>
          </p:cNvCxnSpPr>
          <p:nvPr/>
        </p:nvCxnSpPr>
        <p:spPr>
          <a:xfrm>
            <a:off x="1760354" y="1649624"/>
            <a:ext cx="4335646" cy="451592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EF76E7-6169-4174-8339-8BB6CC0222D7}"/>
              </a:ext>
            </a:extLst>
          </p:cNvPr>
          <p:cNvCxnSpPr>
            <a:cxnSpLocks/>
          </p:cNvCxnSpPr>
          <p:nvPr/>
        </p:nvCxnSpPr>
        <p:spPr>
          <a:xfrm flipH="1">
            <a:off x="6108852" y="3698572"/>
            <a:ext cx="5692623" cy="246697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45D3F8D-15B1-4B1C-9F76-061153381C07}"/>
              </a:ext>
            </a:extLst>
          </p:cNvPr>
          <p:cNvCxnSpPr>
            <a:cxnSpLocks/>
          </p:cNvCxnSpPr>
          <p:nvPr/>
        </p:nvCxnSpPr>
        <p:spPr>
          <a:xfrm flipH="1">
            <a:off x="6096001" y="-185138"/>
            <a:ext cx="2296896" cy="592455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19F3460-EA3F-4A4B-B37F-D14612FD5856}"/>
              </a:ext>
            </a:extLst>
          </p:cNvPr>
          <p:cNvCxnSpPr>
            <a:cxnSpLocks/>
          </p:cNvCxnSpPr>
          <p:nvPr/>
        </p:nvCxnSpPr>
        <p:spPr>
          <a:xfrm flipH="1">
            <a:off x="6100897" y="1"/>
            <a:ext cx="23678" cy="5682806"/>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9FB76B-7CE3-4880-B178-72266DA5FB36}"/>
              </a:ext>
            </a:extLst>
          </p:cNvPr>
          <p:cNvCxnSpPr>
            <a:cxnSpLocks/>
          </p:cNvCxnSpPr>
          <p:nvPr/>
        </p:nvCxnSpPr>
        <p:spPr>
          <a:xfrm>
            <a:off x="3745706" y="-144657"/>
            <a:ext cx="2350294" cy="588406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39FAEA-8981-44AC-B3BC-9D69FA38DF4F}"/>
              </a:ext>
            </a:extLst>
          </p:cNvPr>
          <p:cNvCxnSpPr>
            <a:cxnSpLocks/>
          </p:cNvCxnSpPr>
          <p:nvPr/>
        </p:nvCxnSpPr>
        <p:spPr>
          <a:xfrm flipH="1">
            <a:off x="6096002" y="1631647"/>
            <a:ext cx="4381498" cy="453390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D0C9E1E-038C-425B-B18A-1FD88338A566}"/>
              </a:ext>
            </a:extLst>
          </p:cNvPr>
          <p:cNvSpPr/>
          <p:nvPr/>
        </p:nvSpPr>
        <p:spPr bwMode="auto">
          <a:xfrm>
            <a:off x="3676650" y="3601627"/>
            <a:ext cx="4838700" cy="2563920"/>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3AFDA5A7-0BD9-4000-A183-79007A420FBE}"/>
              </a:ext>
            </a:extLst>
          </p:cNvPr>
          <p:cNvSpPr txBox="1">
            <a:spLocks/>
          </p:cNvSpPr>
          <p:nvPr/>
        </p:nvSpPr>
        <p:spPr>
          <a:xfrm>
            <a:off x="3907614" y="4720329"/>
            <a:ext cx="457264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1A1A1A">
                    <a:lumMod val="90000"/>
                    <a:lumOff val="10000"/>
                  </a:srgbClr>
                </a:solidFill>
                <a:effectLst/>
                <a:uLnTx/>
                <a:uFillTx/>
                <a:latin typeface="Segoe UI Semibold" panose="020B0702040204020203" pitchFamily="34" charset="0"/>
                <a:ea typeface="+mn-ea"/>
                <a:cs typeface="Segoe UI Semibold" panose="020B0702040204020203" pitchFamily="34" charset="0"/>
              </a:rPr>
              <a:t>Migration &amp; modernization triggers</a:t>
            </a:r>
          </a:p>
        </p:txBody>
      </p:sp>
      <p:grpSp>
        <p:nvGrpSpPr>
          <p:cNvPr id="6" name="Group 5">
            <a:extLst>
              <a:ext uri="{FF2B5EF4-FFF2-40B4-BE49-F238E27FC236}">
                <a16:creationId xmlns:a16="http://schemas.microsoft.com/office/drawing/2014/main" id="{578D786E-0DE8-48CB-871E-1B03D96770F1}"/>
              </a:ext>
            </a:extLst>
          </p:cNvPr>
          <p:cNvGrpSpPr/>
          <p:nvPr/>
        </p:nvGrpSpPr>
        <p:grpSpPr>
          <a:xfrm>
            <a:off x="6108464" y="845323"/>
            <a:ext cx="1845988" cy="2275943"/>
            <a:chOff x="6108464" y="845323"/>
            <a:chExt cx="1845988" cy="2275943"/>
          </a:xfrm>
        </p:grpSpPr>
        <p:sp>
          <p:nvSpPr>
            <p:cNvPr id="60" name="Rectangle 59">
              <a:extLst>
                <a:ext uri="{FF2B5EF4-FFF2-40B4-BE49-F238E27FC236}">
                  <a16:creationId xmlns:a16="http://schemas.microsoft.com/office/drawing/2014/main" id="{940910C1-F5BD-42F2-A6A7-0BE990ACA001}"/>
                </a:ext>
              </a:extLst>
            </p:cNvPr>
            <p:cNvSpPr/>
            <p:nvPr/>
          </p:nvSpPr>
          <p:spPr>
            <a:xfrm>
              <a:off x="6108464" y="845323"/>
              <a:ext cx="1845988"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ecurity threats</a:t>
              </a:r>
            </a:p>
          </p:txBody>
        </p:sp>
        <p:grpSp>
          <p:nvGrpSpPr>
            <p:cNvPr id="53" name="Group 30">
              <a:extLst>
                <a:ext uri="{FF2B5EF4-FFF2-40B4-BE49-F238E27FC236}">
                  <a16:creationId xmlns:a16="http://schemas.microsoft.com/office/drawing/2014/main" id="{A8927084-311C-4925-B059-5A74F34D1EC1}"/>
                </a:ext>
              </a:extLst>
            </p:cNvPr>
            <p:cNvGrpSpPr>
              <a:grpSpLocks noChangeAspect="1"/>
            </p:cNvGrpSpPr>
            <p:nvPr/>
          </p:nvGrpSpPr>
          <p:grpSpPr bwMode="auto">
            <a:xfrm>
              <a:off x="6392440" y="2714866"/>
              <a:ext cx="406400" cy="406400"/>
              <a:chOff x="6738" y="804"/>
              <a:chExt cx="256" cy="256"/>
            </a:xfrm>
          </p:grpSpPr>
          <p:sp>
            <p:nvSpPr>
              <p:cNvPr id="55" name="Freeform 31">
                <a:extLst>
                  <a:ext uri="{FF2B5EF4-FFF2-40B4-BE49-F238E27FC236}">
                    <a16:creationId xmlns:a16="http://schemas.microsoft.com/office/drawing/2014/main" id="{744587A8-73DB-47F5-8058-C115F0517EA2}"/>
                  </a:ext>
                </a:extLst>
              </p:cNvPr>
              <p:cNvSpPr>
                <a:spLocks/>
              </p:cNvSpPr>
              <p:nvPr/>
            </p:nvSpPr>
            <p:spPr bwMode="auto">
              <a:xfrm>
                <a:off x="6754" y="810"/>
                <a:ext cx="232" cy="247"/>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AutoShape 29">
                <a:extLst>
                  <a:ext uri="{FF2B5EF4-FFF2-40B4-BE49-F238E27FC236}">
                    <a16:creationId xmlns:a16="http://schemas.microsoft.com/office/drawing/2014/main" id="{3593D270-9317-483F-863C-34EDF650312D}"/>
                  </a:ext>
                </a:extLst>
              </p:cNvPr>
              <p:cNvSpPr>
                <a:spLocks noChangeAspect="1" noChangeArrowheads="1" noTextEdit="1"/>
              </p:cNvSpPr>
              <p:nvPr/>
            </p:nvSpPr>
            <p:spPr bwMode="auto">
              <a:xfrm>
                <a:off x="6738" y="804"/>
                <a:ext cx="256"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32">
                <a:extLst>
                  <a:ext uri="{FF2B5EF4-FFF2-40B4-BE49-F238E27FC236}">
                    <a16:creationId xmlns:a16="http://schemas.microsoft.com/office/drawing/2014/main" id="{69FF41C3-960D-4E2A-BD14-BEEC0FB98503}"/>
                  </a:ext>
                </a:extLst>
              </p:cNvPr>
              <p:cNvSpPr>
                <a:spLocks/>
              </p:cNvSpPr>
              <p:nvPr/>
            </p:nvSpPr>
            <p:spPr bwMode="auto">
              <a:xfrm>
                <a:off x="6862" y="984"/>
                <a:ext cx="16" cy="16"/>
              </a:xfrm>
              <a:custGeom>
                <a:avLst/>
                <a:gdLst>
                  <a:gd name="T0" fmla="*/ 0 w 27"/>
                  <a:gd name="T1" fmla="*/ 26 h 26"/>
                  <a:gd name="T2" fmla="*/ 0 w 27"/>
                  <a:gd name="T3" fmla="*/ 26 h 26"/>
                  <a:gd name="T4" fmla="*/ 0 w 27"/>
                  <a:gd name="T5" fmla="*/ 0 h 26"/>
                  <a:gd name="T6" fmla="*/ 27 w 27"/>
                  <a:gd name="T7" fmla="*/ 0 h 26"/>
                </a:gdLst>
                <a:ahLst/>
                <a:cxnLst>
                  <a:cxn ang="0">
                    <a:pos x="T0" y="T1"/>
                  </a:cxn>
                  <a:cxn ang="0">
                    <a:pos x="T2" y="T3"/>
                  </a:cxn>
                  <a:cxn ang="0">
                    <a:pos x="T4" y="T5"/>
                  </a:cxn>
                  <a:cxn ang="0">
                    <a:pos x="T6" y="T7"/>
                  </a:cxn>
                </a:cxnLst>
                <a:rect l="0" t="0" r="r" b="b"/>
                <a:pathLst>
                  <a:path w="27" h="26">
                    <a:moveTo>
                      <a:pt x="0" y="26"/>
                    </a:moveTo>
                    <a:lnTo>
                      <a:pt x="0" y="26"/>
                    </a:lnTo>
                    <a:lnTo>
                      <a:pt x="0" y="0"/>
                    </a:lnTo>
                    <a:lnTo>
                      <a:pt x="27" y="0"/>
                    </a:lnTo>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34">
                <a:extLst>
                  <a:ext uri="{FF2B5EF4-FFF2-40B4-BE49-F238E27FC236}">
                    <a16:creationId xmlns:a16="http://schemas.microsoft.com/office/drawing/2014/main" id="{BB84D110-916F-47A9-80DD-E6AFDAE0DE51}"/>
                  </a:ext>
                </a:extLst>
              </p:cNvPr>
              <p:cNvSpPr>
                <a:spLocks/>
              </p:cNvSpPr>
              <p:nvPr/>
            </p:nvSpPr>
            <p:spPr bwMode="auto">
              <a:xfrm>
                <a:off x="6862" y="984"/>
                <a:ext cx="16" cy="16"/>
              </a:xfrm>
              <a:custGeom>
                <a:avLst/>
                <a:gdLst>
                  <a:gd name="T0" fmla="*/ 27 w 27"/>
                  <a:gd name="T1" fmla="*/ 0 h 26"/>
                  <a:gd name="T2" fmla="*/ 27 w 27"/>
                  <a:gd name="T3" fmla="*/ 0 h 26"/>
                  <a:gd name="T4" fmla="*/ 27 w 27"/>
                  <a:gd name="T5" fmla="*/ 26 h 26"/>
                  <a:gd name="T6" fmla="*/ 0 w 27"/>
                  <a:gd name="T7" fmla="*/ 26 h 26"/>
                </a:gdLst>
                <a:ahLst/>
                <a:cxnLst>
                  <a:cxn ang="0">
                    <a:pos x="T0" y="T1"/>
                  </a:cxn>
                  <a:cxn ang="0">
                    <a:pos x="T2" y="T3"/>
                  </a:cxn>
                  <a:cxn ang="0">
                    <a:pos x="T4" y="T5"/>
                  </a:cxn>
                  <a:cxn ang="0">
                    <a:pos x="T6" y="T7"/>
                  </a:cxn>
                </a:cxnLst>
                <a:rect l="0" t="0" r="r" b="b"/>
                <a:pathLst>
                  <a:path w="27" h="26">
                    <a:moveTo>
                      <a:pt x="27" y="0"/>
                    </a:moveTo>
                    <a:lnTo>
                      <a:pt x="27" y="0"/>
                    </a:lnTo>
                    <a:lnTo>
                      <a:pt x="27" y="26"/>
                    </a:lnTo>
                    <a:lnTo>
                      <a:pt x="0" y="26"/>
                    </a:ln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33">
                <a:extLst>
                  <a:ext uri="{FF2B5EF4-FFF2-40B4-BE49-F238E27FC236}">
                    <a16:creationId xmlns:a16="http://schemas.microsoft.com/office/drawing/2014/main" id="{2683A4DF-CC0C-40E6-A8C1-443BBFD56464}"/>
                  </a:ext>
                </a:extLst>
              </p:cNvPr>
              <p:cNvSpPr>
                <a:spLocks/>
              </p:cNvSpPr>
              <p:nvPr/>
            </p:nvSpPr>
            <p:spPr bwMode="auto">
              <a:xfrm>
                <a:off x="6862" y="851"/>
                <a:ext cx="16" cy="116"/>
              </a:xfrm>
              <a:custGeom>
                <a:avLst/>
                <a:gdLst>
                  <a:gd name="T0" fmla="*/ 27 w 27"/>
                  <a:gd name="T1" fmla="*/ 187 h 187"/>
                  <a:gd name="T2" fmla="*/ 27 w 27"/>
                  <a:gd name="T3" fmla="*/ 187 h 187"/>
                  <a:gd name="T4" fmla="*/ 0 w 27"/>
                  <a:gd name="T5" fmla="*/ 187 h 187"/>
                  <a:gd name="T6" fmla="*/ 0 w 27"/>
                  <a:gd name="T7" fmla="*/ 0 h 187"/>
                  <a:gd name="T8" fmla="*/ 27 w 27"/>
                  <a:gd name="T9" fmla="*/ 0 h 187"/>
                  <a:gd name="T10" fmla="*/ 27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27" y="187"/>
                    </a:moveTo>
                    <a:lnTo>
                      <a:pt x="27" y="187"/>
                    </a:lnTo>
                    <a:lnTo>
                      <a:pt x="0" y="187"/>
                    </a:lnTo>
                    <a:lnTo>
                      <a:pt x="0" y="0"/>
                    </a:lnTo>
                    <a:lnTo>
                      <a:pt x="27" y="0"/>
                    </a:lnTo>
                    <a:lnTo>
                      <a:pt x="27" y="187"/>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0768EC22-8BF1-4954-BC57-EB1C668EA990}"/>
              </a:ext>
            </a:extLst>
          </p:cNvPr>
          <p:cNvGrpSpPr/>
          <p:nvPr/>
        </p:nvGrpSpPr>
        <p:grpSpPr>
          <a:xfrm>
            <a:off x="9077264" y="4604838"/>
            <a:ext cx="3036225" cy="959859"/>
            <a:chOff x="9077264" y="4604838"/>
            <a:chExt cx="3036225" cy="959859"/>
          </a:xfrm>
        </p:grpSpPr>
        <p:sp>
          <p:nvSpPr>
            <p:cNvPr id="63" name="Rectangle 62">
              <a:extLst>
                <a:ext uri="{FF2B5EF4-FFF2-40B4-BE49-F238E27FC236}">
                  <a16:creationId xmlns:a16="http://schemas.microsoft.com/office/drawing/2014/main" id="{C8C04D0B-5E89-4EF3-BDB5-D2328BA5131E}"/>
                </a:ext>
              </a:extLst>
            </p:cNvPr>
            <p:cNvSpPr/>
            <p:nvPr/>
          </p:nvSpPr>
          <p:spPr>
            <a:xfrm>
              <a:off x="9985065" y="4604838"/>
              <a:ext cx="2128424" cy="584775"/>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oftware end </a:t>
              </a:r>
              <a:b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of support</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67" name="Group 67">
              <a:extLst>
                <a:ext uri="{FF2B5EF4-FFF2-40B4-BE49-F238E27FC236}">
                  <a16:creationId xmlns:a16="http://schemas.microsoft.com/office/drawing/2014/main" id="{B39803E0-CF86-4554-956E-25647F021EA0}"/>
                </a:ext>
              </a:extLst>
            </p:cNvPr>
            <p:cNvGrpSpPr>
              <a:grpSpLocks noChangeAspect="1"/>
            </p:cNvGrpSpPr>
            <p:nvPr/>
          </p:nvGrpSpPr>
          <p:grpSpPr bwMode="auto">
            <a:xfrm>
              <a:off x="9077264" y="5069397"/>
              <a:ext cx="495300" cy="495300"/>
              <a:chOff x="2856" y="293"/>
              <a:chExt cx="312" cy="312"/>
            </a:xfrm>
          </p:grpSpPr>
          <p:sp>
            <p:nvSpPr>
              <p:cNvPr id="68" name="AutoShape 66">
                <a:extLst>
                  <a:ext uri="{FF2B5EF4-FFF2-40B4-BE49-F238E27FC236}">
                    <a16:creationId xmlns:a16="http://schemas.microsoft.com/office/drawing/2014/main" id="{C3CD9C54-7658-414D-A6DA-98A9DA1C37E5}"/>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68">
                <a:extLst>
                  <a:ext uri="{FF2B5EF4-FFF2-40B4-BE49-F238E27FC236}">
                    <a16:creationId xmlns:a16="http://schemas.microsoft.com/office/drawing/2014/main" id="{65B5415C-55F9-40FD-9D82-D7832F989B51}"/>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chemeClr val="tx1">
                  <a:lumMod val="90000"/>
                  <a:lumOff val="1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69">
                <a:extLst>
                  <a:ext uri="{FF2B5EF4-FFF2-40B4-BE49-F238E27FC236}">
                    <a16:creationId xmlns:a16="http://schemas.microsoft.com/office/drawing/2014/main" id="{83D95408-11CC-490B-B565-8F82809BC02F}"/>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70">
                <a:extLst>
                  <a:ext uri="{FF2B5EF4-FFF2-40B4-BE49-F238E27FC236}">
                    <a16:creationId xmlns:a16="http://schemas.microsoft.com/office/drawing/2014/main" id="{D33AD3E1-0EC6-4EC9-9542-316B59A8E363}"/>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71">
                <a:extLst>
                  <a:ext uri="{FF2B5EF4-FFF2-40B4-BE49-F238E27FC236}">
                    <a16:creationId xmlns:a16="http://schemas.microsoft.com/office/drawing/2014/main" id="{EAC2359D-3D41-4040-991E-E5573AB97765}"/>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FE0A2B00-F76D-4E9B-9DE5-9819C082BAE5}"/>
              </a:ext>
            </a:extLst>
          </p:cNvPr>
          <p:cNvGrpSpPr/>
          <p:nvPr/>
        </p:nvGrpSpPr>
        <p:grpSpPr>
          <a:xfrm>
            <a:off x="7687404" y="1561552"/>
            <a:ext cx="2344999" cy="2182543"/>
            <a:chOff x="7684989" y="1364833"/>
            <a:chExt cx="2344999" cy="2182543"/>
          </a:xfrm>
        </p:grpSpPr>
        <p:sp>
          <p:nvSpPr>
            <p:cNvPr id="61" name="Rectangle 60">
              <a:extLst>
                <a:ext uri="{FF2B5EF4-FFF2-40B4-BE49-F238E27FC236}">
                  <a16:creationId xmlns:a16="http://schemas.microsoft.com/office/drawing/2014/main" id="{90D59949-0CE9-437E-BB91-475AD7222046}"/>
                </a:ext>
              </a:extLst>
            </p:cNvPr>
            <p:cNvSpPr/>
            <p:nvPr/>
          </p:nvSpPr>
          <p:spPr>
            <a:xfrm>
              <a:off x="7727454" y="1364833"/>
              <a:ext cx="2302534" cy="553998"/>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Complianc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rPr>
                <a:t> </a:t>
              </a:r>
            </a:p>
          </p:txBody>
        </p:sp>
        <p:grpSp>
          <p:nvGrpSpPr>
            <p:cNvPr id="73" name="Group 22">
              <a:extLst>
                <a:ext uri="{FF2B5EF4-FFF2-40B4-BE49-F238E27FC236}">
                  <a16:creationId xmlns:a16="http://schemas.microsoft.com/office/drawing/2014/main" id="{FEBD25B5-772F-4EDB-9B53-7561F8F9835A}"/>
                </a:ext>
              </a:extLst>
            </p:cNvPr>
            <p:cNvGrpSpPr>
              <a:grpSpLocks noChangeAspect="1"/>
            </p:cNvGrpSpPr>
            <p:nvPr/>
          </p:nvGrpSpPr>
          <p:grpSpPr bwMode="auto">
            <a:xfrm>
              <a:off x="7684989" y="3140976"/>
              <a:ext cx="406400" cy="406400"/>
              <a:chOff x="3274" y="805"/>
              <a:chExt cx="256" cy="256"/>
            </a:xfrm>
          </p:grpSpPr>
          <p:sp>
            <p:nvSpPr>
              <p:cNvPr id="74" name="AutoShape 21">
                <a:extLst>
                  <a:ext uri="{FF2B5EF4-FFF2-40B4-BE49-F238E27FC236}">
                    <a16:creationId xmlns:a16="http://schemas.microsoft.com/office/drawing/2014/main" id="{12785416-45B0-4882-BE2B-BF70E78E1218}"/>
                  </a:ext>
                </a:extLst>
              </p:cNvPr>
              <p:cNvSpPr>
                <a:spLocks noChangeAspect="1" noChangeArrowheads="1" noTextEdit="1"/>
              </p:cNvSpPr>
              <p:nvPr/>
            </p:nvSpPr>
            <p:spPr bwMode="auto">
              <a:xfrm>
                <a:off x="3274" y="805"/>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6A7A97D7-83AD-438D-B763-FA56D277B12C}"/>
                  </a:ext>
                </a:extLst>
              </p:cNvPr>
              <p:cNvSpPr>
                <a:spLocks/>
              </p:cNvSpPr>
              <p:nvPr/>
            </p:nvSpPr>
            <p:spPr bwMode="auto">
              <a:xfrm>
                <a:off x="3291" y="846"/>
                <a:ext cx="141" cy="42"/>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314542B-531D-4BEB-AF8C-B0CF5767E183}"/>
                  </a:ext>
                </a:extLst>
              </p:cNvPr>
              <p:cNvSpPr>
                <a:spLocks/>
              </p:cNvSpPr>
              <p:nvPr/>
            </p:nvSpPr>
            <p:spPr bwMode="auto">
              <a:xfrm>
                <a:off x="3291" y="920"/>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04ACA59F-477D-431B-A3DA-D0E106770CB8}"/>
                  </a:ext>
                </a:extLst>
              </p:cNvPr>
              <p:cNvSpPr>
                <a:spLocks/>
              </p:cNvSpPr>
              <p:nvPr/>
            </p:nvSpPr>
            <p:spPr bwMode="auto">
              <a:xfrm>
                <a:off x="3291" y="994"/>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D33D9F22-F286-49DA-B4B5-3C4F79FDB286}"/>
                  </a:ext>
                </a:extLst>
              </p:cNvPr>
              <p:cNvSpPr>
                <a:spLocks/>
              </p:cNvSpPr>
              <p:nvPr/>
            </p:nvSpPr>
            <p:spPr bwMode="auto">
              <a:xfrm>
                <a:off x="3452" y="907"/>
                <a:ext cx="68" cy="5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27">
                <a:extLst>
                  <a:ext uri="{FF2B5EF4-FFF2-40B4-BE49-F238E27FC236}">
                    <a16:creationId xmlns:a16="http://schemas.microsoft.com/office/drawing/2014/main" id="{3D619B40-7D39-49B0-BA79-F1191A132611}"/>
                  </a:ext>
                </a:extLst>
              </p:cNvPr>
              <p:cNvSpPr>
                <a:spLocks/>
              </p:cNvSpPr>
              <p:nvPr/>
            </p:nvSpPr>
            <p:spPr bwMode="auto">
              <a:xfrm>
                <a:off x="3452" y="981"/>
                <a:ext cx="68" cy="5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28">
                <a:extLst>
                  <a:ext uri="{FF2B5EF4-FFF2-40B4-BE49-F238E27FC236}">
                    <a16:creationId xmlns:a16="http://schemas.microsoft.com/office/drawing/2014/main" id="{7420A909-5C8D-4950-861C-34763A502606}"/>
                  </a:ext>
                </a:extLst>
              </p:cNvPr>
              <p:cNvSpPr>
                <a:spLocks/>
              </p:cNvSpPr>
              <p:nvPr/>
            </p:nvSpPr>
            <p:spPr bwMode="auto">
              <a:xfrm>
                <a:off x="3452" y="834"/>
                <a:ext cx="68" cy="54"/>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5A74978C-79B7-4417-A75D-C496FDDF45D7}"/>
              </a:ext>
            </a:extLst>
          </p:cNvPr>
          <p:cNvGrpSpPr/>
          <p:nvPr/>
        </p:nvGrpSpPr>
        <p:grpSpPr>
          <a:xfrm>
            <a:off x="8441527" y="2916864"/>
            <a:ext cx="3299496" cy="1592847"/>
            <a:chOff x="8441527" y="2916864"/>
            <a:chExt cx="3299496" cy="1592847"/>
          </a:xfrm>
        </p:grpSpPr>
        <p:sp>
          <p:nvSpPr>
            <p:cNvPr id="62" name="Rectangle 61">
              <a:extLst>
                <a:ext uri="{FF2B5EF4-FFF2-40B4-BE49-F238E27FC236}">
                  <a16:creationId xmlns:a16="http://schemas.microsoft.com/office/drawing/2014/main" id="{0DC46382-D5C3-460C-83E9-818D28BB93E5}"/>
                </a:ext>
              </a:extLst>
            </p:cNvPr>
            <p:cNvSpPr/>
            <p:nvPr/>
          </p:nvSpPr>
          <p:spPr>
            <a:xfrm>
              <a:off x="9239677" y="2916864"/>
              <a:ext cx="2501346"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pplication innovation</a:t>
              </a:r>
            </a:p>
          </p:txBody>
        </p:sp>
        <p:grpSp>
          <p:nvGrpSpPr>
            <p:cNvPr id="97" name="Group 96">
              <a:extLst>
                <a:ext uri="{FF2B5EF4-FFF2-40B4-BE49-F238E27FC236}">
                  <a16:creationId xmlns:a16="http://schemas.microsoft.com/office/drawing/2014/main" id="{04457938-B069-4F0D-BD77-EEFD24636701}"/>
                </a:ext>
              </a:extLst>
            </p:cNvPr>
            <p:cNvGrpSpPr/>
            <p:nvPr/>
          </p:nvGrpSpPr>
          <p:grpSpPr>
            <a:xfrm>
              <a:off x="8441527" y="4067686"/>
              <a:ext cx="536745" cy="442025"/>
              <a:chOff x="10082121" y="5760490"/>
              <a:chExt cx="536745" cy="442025"/>
            </a:xfrm>
          </p:grpSpPr>
          <p:sp>
            <p:nvSpPr>
              <p:cNvPr id="98" name="Freeform 1403">
                <a:extLst>
                  <a:ext uri="{FF2B5EF4-FFF2-40B4-BE49-F238E27FC236}">
                    <a16:creationId xmlns:a16="http://schemas.microsoft.com/office/drawing/2014/main" id="{B99526BE-588A-4360-9AF6-D32C2186AF5E}"/>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1404">
                <a:extLst>
                  <a:ext uri="{FF2B5EF4-FFF2-40B4-BE49-F238E27FC236}">
                    <a16:creationId xmlns:a16="http://schemas.microsoft.com/office/drawing/2014/main" id="{78530ACE-3947-44DC-89EF-531FF7FE82B7}"/>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1405">
                <a:extLst>
                  <a:ext uri="{FF2B5EF4-FFF2-40B4-BE49-F238E27FC236}">
                    <a16:creationId xmlns:a16="http://schemas.microsoft.com/office/drawing/2014/main" id="{F8392FA6-CE2B-4BE2-A0D3-EE3BA4EE3202}"/>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1406">
                <a:extLst>
                  <a:ext uri="{FF2B5EF4-FFF2-40B4-BE49-F238E27FC236}">
                    <a16:creationId xmlns:a16="http://schemas.microsoft.com/office/drawing/2014/main" id="{A38D2DD2-2120-46C1-B17A-69E4FFD180B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407">
                <a:extLst>
                  <a:ext uri="{FF2B5EF4-FFF2-40B4-BE49-F238E27FC236}">
                    <a16:creationId xmlns:a16="http://schemas.microsoft.com/office/drawing/2014/main" id="{F3851180-1140-47D9-B7F5-86AFA3FA32FE}"/>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1408">
                <a:extLst>
                  <a:ext uri="{FF2B5EF4-FFF2-40B4-BE49-F238E27FC236}">
                    <a16:creationId xmlns:a16="http://schemas.microsoft.com/office/drawing/2014/main" id="{9A2EB96A-B617-471A-98E7-75F9B0DE423D}"/>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B6FDB18A-53DE-4CC8-B17D-2A992F168D08}"/>
              </a:ext>
            </a:extLst>
          </p:cNvPr>
          <p:cNvGrpSpPr/>
          <p:nvPr/>
        </p:nvGrpSpPr>
        <p:grpSpPr>
          <a:xfrm>
            <a:off x="2158058" y="1364833"/>
            <a:ext cx="2497269" cy="2084361"/>
            <a:chOff x="2158058" y="1364833"/>
            <a:chExt cx="2497269" cy="2084361"/>
          </a:xfrm>
        </p:grpSpPr>
        <p:sp>
          <p:nvSpPr>
            <p:cNvPr id="58" name="Rectangle 57">
              <a:extLst>
                <a:ext uri="{FF2B5EF4-FFF2-40B4-BE49-F238E27FC236}">
                  <a16:creationId xmlns:a16="http://schemas.microsoft.com/office/drawing/2014/main" id="{D40CE9F0-1690-4476-9D36-281D61C12B19}"/>
                </a:ext>
              </a:extLst>
            </p:cNvPr>
            <p:cNvSpPr/>
            <p:nvPr/>
          </p:nvSpPr>
          <p:spPr>
            <a:xfrm>
              <a:off x="2158058" y="1364833"/>
              <a:ext cx="2009792"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Urgent capacity needs  </a:t>
              </a:r>
            </a:p>
          </p:txBody>
        </p:sp>
        <p:grpSp>
          <p:nvGrpSpPr>
            <p:cNvPr id="110" name="Group 109">
              <a:extLst>
                <a:ext uri="{FF2B5EF4-FFF2-40B4-BE49-F238E27FC236}">
                  <a16:creationId xmlns:a16="http://schemas.microsoft.com/office/drawing/2014/main" id="{1830C67E-B05E-4A17-9005-E9CB294345E6}"/>
                </a:ext>
              </a:extLst>
            </p:cNvPr>
            <p:cNvGrpSpPr/>
            <p:nvPr/>
          </p:nvGrpSpPr>
          <p:grpSpPr>
            <a:xfrm>
              <a:off x="4118582" y="2912449"/>
              <a:ext cx="536745" cy="536745"/>
              <a:chOff x="3146536" y="4187094"/>
              <a:chExt cx="536745" cy="536745"/>
            </a:xfrm>
          </p:grpSpPr>
          <p:sp>
            <p:nvSpPr>
              <p:cNvPr id="111" name="Freeform 1086">
                <a:extLst>
                  <a:ext uri="{FF2B5EF4-FFF2-40B4-BE49-F238E27FC236}">
                    <a16:creationId xmlns:a16="http://schemas.microsoft.com/office/drawing/2014/main" id="{7E59704A-100E-4822-A186-1DF9E6EBEC9F}"/>
                  </a:ext>
                </a:extLst>
              </p:cNvPr>
              <p:cNvSpPr>
                <a:spLocks/>
              </p:cNvSpPr>
              <p:nvPr/>
            </p:nvSpPr>
            <p:spPr bwMode="auto">
              <a:xfrm>
                <a:off x="3146536" y="4360746"/>
                <a:ext cx="184179" cy="189439"/>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1083">
                <a:extLst>
                  <a:ext uri="{FF2B5EF4-FFF2-40B4-BE49-F238E27FC236}">
                    <a16:creationId xmlns:a16="http://schemas.microsoft.com/office/drawing/2014/main" id="{82F452CD-EA61-4EB1-A9F9-B047EE85AFD5}"/>
                  </a:ext>
                </a:extLst>
              </p:cNvPr>
              <p:cNvSpPr>
                <a:spLocks/>
              </p:cNvSpPr>
              <p:nvPr/>
            </p:nvSpPr>
            <p:spPr bwMode="auto">
              <a:xfrm>
                <a:off x="3499102" y="4360745"/>
                <a:ext cx="184179" cy="189439"/>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1084">
                <a:extLst>
                  <a:ext uri="{FF2B5EF4-FFF2-40B4-BE49-F238E27FC236}">
                    <a16:creationId xmlns:a16="http://schemas.microsoft.com/office/drawing/2014/main" id="{BF070488-1023-45C3-A89B-7C62C3F3C393}"/>
                  </a:ext>
                </a:extLst>
              </p:cNvPr>
              <p:cNvSpPr>
                <a:spLocks/>
              </p:cNvSpPr>
              <p:nvPr/>
            </p:nvSpPr>
            <p:spPr bwMode="auto">
              <a:xfrm>
                <a:off x="3320187" y="4187094"/>
                <a:ext cx="189439" cy="184179"/>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1085">
                <a:extLst>
                  <a:ext uri="{FF2B5EF4-FFF2-40B4-BE49-F238E27FC236}">
                    <a16:creationId xmlns:a16="http://schemas.microsoft.com/office/drawing/2014/main" id="{8F6F567A-2CD2-4BE1-A3FD-5D692A1B2051}"/>
                  </a:ext>
                </a:extLst>
              </p:cNvPr>
              <p:cNvSpPr>
                <a:spLocks/>
              </p:cNvSpPr>
              <p:nvPr/>
            </p:nvSpPr>
            <p:spPr bwMode="auto">
              <a:xfrm>
                <a:off x="3320187" y="4539660"/>
                <a:ext cx="189439" cy="184179"/>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 name="Group 1">
            <a:extLst>
              <a:ext uri="{FF2B5EF4-FFF2-40B4-BE49-F238E27FC236}">
                <a16:creationId xmlns:a16="http://schemas.microsoft.com/office/drawing/2014/main" id="{2D2B8C70-84D7-4C75-9DEC-A4AA858DE109}"/>
              </a:ext>
            </a:extLst>
          </p:cNvPr>
          <p:cNvGrpSpPr/>
          <p:nvPr/>
        </p:nvGrpSpPr>
        <p:grpSpPr>
          <a:xfrm>
            <a:off x="64045" y="4863483"/>
            <a:ext cx="3021981" cy="899647"/>
            <a:chOff x="64045" y="4863483"/>
            <a:chExt cx="3021981" cy="899647"/>
          </a:xfrm>
        </p:grpSpPr>
        <p:sp>
          <p:nvSpPr>
            <p:cNvPr id="56" name="Rectangle 55">
              <a:extLst>
                <a:ext uri="{FF2B5EF4-FFF2-40B4-BE49-F238E27FC236}">
                  <a16:creationId xmlns:a16="http://schemas.microsoft.com/office/drawing/2014/main" id="{66F53B2D-E90D-4728-85C9-069A1D2CB81F}"/>
                </a:ext>
              </a:extLst>
            </p:cNvPr>
            <p:cNvSpPr/>
            <p:nvPr/>
          </p:nvSpPr>
          <p:spPr>
            <a:xfrm>
              <a:off x="64045" y="4863483"/>
              <a:ext cx="2004431"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Datacenter </a:t>
              </a:r>
              <a:r>
                <a:rPr kumimoji="0" lang="en-US" sz="1600" b="0" i="0" u="none" strike="noStrike" kern="1200" cap="none" spc="0" normalizeH="0" baseline="0" noProof="0" err="1">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contracts</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 expiry</a:t>
              </a:r>
            </a:p>
          </p:txBody>
        </p:sp>
        <p:grpSp>
          <p:nvGrpSpPr>
            <p:cNvPr id="129" name="Group 186">
              <a:extLst>
                <a:ext uri="{FF2B5EF4-FFF2-40B4-BE49-F238E27FC236}">
                  <a16:creationId xmlns:a16="http://schemas.microsoft.com/office/drawing/2014/main" id="{4DFF196D-AB4E-4A3A-BD86-1C48F509E2AE}"/>
                </a:ext>
              </a:extLst>
            </p:cNvPr>
            <p:cNvGrpSpPr>
              <a:grpSpLocks noChangeAspect="1"/>
            </p:cNvGrpSpPr>
            <p:nvPr/>
          </p:nvGrpSpPr>
          <p:grpSpPr bwMode="auto">
            <a:xfrm>
              <a:off x="2679626" y="5356730"/>
              <a:ext cx="406400" cy="406400"/>
              <a:chOff x="1538" y="2728"/>
              <a:chExt cx="256" cy="256"/>
            </a:xfrm>
          </p:grpSpPr>
          <p:sp>
            <p:nvSpPr>
              <p:cNvPr id="130" name="AutoShape 185">
                <a:extLst>
                  <a:ext uri="{FF2B5EF4-FFF2-40B4-BE49-F238E27FC236}">
                    <a16:creationId xmlns:a16="http://schemas.microsoft.com/office/drawing/2014/main" id="{7A3E1AEC-4029-4C35-AD85-E6076E04B7DB}"/>
                  </a:ext>
                </a:extLst>
              </p:cNvPr>
              <p:cNvSpPr>
                <a:spLocks noChangeAspect="1" noChangeArrowheads="1" noTextEdit="1"/>
              </p:cNvSpPr>
              <p:nvPr/>
            </p:nvSpPr>
            <p:spPr bwMode="auto">
              <a:xfrm>
                <a:off x="1538" y="272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187">
                <a:extLst>
                  <a:ext uri="{FF2B5EF4-FFF2-40B4-BE49-F238E27FC236}">
                    <a16:creationId xmlns:a16="http://schemas.microsoft.com/office/drawing/2014/main" id="{0A0C085A-6488-4167-BDCA-73E81A77625B}"/>
                  </a:ext>
                </a:extLst>
              </p:cNvPr>
              <p:cNvSpPr>
                <a:spLocks/>
              </p:cNvSpPr>
              <p:nvPr/>
            </p:nvSpPr>
            <p:spPr bwMode="auto">
              <a:xfrm>
                <a:off x="1686" y="2890"/>
                <a:ext cx="50" cy="50"/>
              </a:xfrm>
              <a:custGeom>
                <a:avLst/>
                <a:gdLst>
                  <a:gd name="T0" fmla="*/ 80 w 80"/>
                  <a:gd name="T1" fmla="*/ 0 h 80"/>
                  <a:gd name="T2" fmla="*/ 80 w 80"/>
                  <a:gd name="T3" fmla="*/ 0 h 80"/>
                  <a:gd name="T4" fmla="*/ 0 w 80"/>
                  <a:gd name="T5" fmla="*/ 0 h 80"/>
                  <a:gd name="T6" fmla="*/ 0 w 80"/>
                  <a:gd name="T7" fmla="*/ 80 h 80"/>
                  <a:gd name="T8" fmla="*/ 80 w 80"/>
                  <a:gd name="T9" fmla="*/ 80 h 80"/>
                  <a:gd name="T10" fmla="*/ 80 w 80"/>
                  <a:gd name="T11" fmla="*/ 0 h 80"/>
                </a:gdLst>
                <a:ahLst/>
                <a:cxnLst>
                  <a:cxn ang="0">
                    <a:pos x="T0" y="T1"/>
                  </a:cxn>
                  <a:cxn ang="0">
                    <a:pos x="T2" y="T3"/>
                  </a:cxn>
                  <a:cxn ang="0">
                    <a:pos x="T4" y="T5"/>
                  </a:cxn>
                  <a:cxn ang="0">
                    <a:pos x="T6" y="T7"/>
                  </a:cxn>
                  <a:cxn ang="0">
                    <a:pos x="T8" y="T9"/>
                  </a:cxn>
                  <a:cxn ang="0">
                    <a:pos x="T10" y="T11"/>
                  </a:cxn>
                </a:cxnLst>
                <a:rect l="0" t="0" r="r" b="b"/>
                <a:pathLst>
                  <a:path w="80" h="80">
                    <a:moveTo>
                      <a:pt x="80" y="0"/>
                    </a:moveTo>
                    <a:lnTo>
                      <a:pt x="80" y="0"/>
                    </a:lnTo>
                    <a:lnTo>
                      <a:pt x="0" y="0"/>
                    </a:lnTo>
                    <a:lnTo>
                      <a:pt x="0" y="80"/>
                    </a:lnTo>
                    <a:lnTo>
                      <a:pt x="80" y="80"/>
                    </a:lnTo>
                    <a:lnTo>
                      <a:pt x="8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188">
                <a:extLst>
                  <a:ext uri="{FF2B5EF4-FFF2-40B4-BE49-F238E27FC236}">
                    <a16:creationId xmlns:a16="http://schemas.microsoft.com/office/drawing/2014/main" id="{B6553361-2D39-4D85-A8B4-5ECCE3C3A04B}"/>
                  </a:ext>
                </a:extLst>
              </p:cNvPr>
              <p:cNvSpPr>
                <a:spLocks noEditPoints="1"/>
              </p:cNvSpPr>
              <p:nvPr/>
            </p:nvSpPr>
            <p:spPr bwMode="auto">
              <a:xfrm>
                <a:off x="1554" y="2726"/>
                <a:ext cx="232" cy="263"/>
              </a:xfrm>
              <a:custGeom>
                <a:avLst/>
                <a:gdLst>
                  <a:gd name="T0" fmla="*/ 0 w 373"/>
                  <a:gd name="T1" fmla="*/ 425 h 425"/>
                  <a:gd name="T2" fmla="*/ 0 w 373"/>
                  <a:gd name="T3" fmla="*/ 425 h 425"/>
                  <a:gd name="T4" fmla="*/ 373 w 373"/>
                  <a:gd name="T5" fmla="*/ 425 h 425"/>
                  <a:gd name="T6" fmla="*/ 373 w 373"/>
                  <a:gd name="T7" fmla="*/ 0 h 425"/>
                  <a:gd name="T8" fmla="*/ 0 w 373"/>
                  <a:gd name="T9" fmla="*/ 0 h 425"/>
                  <a:gd name="T10" fmla="*/ 0 w 373"/>
                  <a:gd name="T11" fmla="*/ 425 h 425"/>
                  <a:gd name="T12" fmla="*/ 54 w 373"/>
                  <a:gd name="T13" fmla="*/ 52 h 425"/>
                  <a:gd name="T14" fmla="*/ 54 w 373"/>
                  <a:gd name="T15" fmla="*/ 52 h 425"/>
                  <a:gd name="T16" fmla="*/ 320 w 373"/>
                  <a:gd name="T17" fmla="*/ 52 h 425"/>
                  <a:gd name="T18" fmla="*/ 320 w 373"/>
                  <a:gd name="T19" fmla="*/ 79 h 425"/>
                  <a:gd name="T20" fmla="*/ 54 w 373"/>
                  <a:gd name="T21" fmla="*/ 79 h 425"/>
                  <a:gd name="T22" fmla="*/ 54 w 373"/>
                  <a:gd name="T23" fmla="*/ 52 h 425"/>
                  <a:gd name="T24" fmla="*/ 54 w 373"/>
                  <a:gd name="T25" fmla="*/ 104 h 425"/>
                  <a:gd name="T26" fmla="*/ 54 w 373"/>
                  <a:gd name="T27" fmla="*/ 104 h 425"/>
                  <a:gd name="T28" fmla="*/ 320 w 373"/>
                  <a:gd name="T29" fmla="*/ 104 h 425"/>
                  <a:gd name="T30" fmla="*/ 320 w 373"/>
                  <a:gd name="T31" fmla="*/ 131 h 425"/>
                  <a:gd name="T32" fmla="*/ 54 w 373"/>
                  <a:gd name="T33" fmla="*/ 131 h 425"/>
                  <a:gd name="T34" fmla="*/ 54 w 373"/>
                  <a:gd name="T35" fmla="*/ 104 h 425"/>
                  <a:gd name="T36" fmla="*/ 54 w 373"/>
                  <a:gd name="T37" fmla="*/ 163 h 425"/>
                  <a:gd name="T38" fmla="*/ 54 w 373"/>
                  <a:gd name="T39" fmla="*/ 163 h 425"/>
                  <a:gd name="T40" fmla="*/ 320 w 373"/>
                  <a:gd name="T41" fmla="*/ 163 h 425"/>
                  <a:gd name="T42" fmla="*/ 320 w 373"/>
                  <a:gd name="T43" fmla="*/ 189 h 425"/>
                  <a:gd name="T44" fmla="*/ 54 w 373"/>
                  <a:gd name="T45" fmla="*/ 189 h 425"/>
                  <a:gd name="T46" fmla="*/ 54 w 373"/>
                  <a:gd name="T47" fmla="*/ 163 h 425"/>
                  <a:gd name="T48" fmla="*/ 187 w 373"/>
                  <a:gd name="T49" fmla="*/ 238 h 425"/>
                  <a:gd name="T50" fmla="*/ 187 w 373"/>
                  <a:gd name="T51" fmla="*/ 238 h 425"/>
                  <a:gd name="T52" fmla="*/ 320 w 373"/>
                  <a:gd name="T53" fmla="*/ 238 h 425"/>
                  <a:gd name="T54" fmla="*/ 320 w 373"/>
                  <a:gd name="T55" fmla="*/ 371 h 425"/>
                  <a:gd name="T56" fmla="*/ 187 w 373"/>
                  <a:gd name="T57" fmla="*/ 371 h 425"/>
                  <a:gd name="T58" fmla="*/ 187 w 373"/>
                  <a:gd name="T59" fmla="*/ 238 h 425"/>
                  <a:gd name="T60" fmla="*/ 54 w 373"/>
                  <a:gd name="T61" fmla="*/ 238 h 425"/>
                  <a:gd name="T62" fmla="*/ 54 w 373"/>
                  <a:gd name="T63" fmla="*/ 238 h 425"/>
                  <a:gd name="T64" fmla="*/ 160 w 373"/>
                  <a:gd name="T65" fmla="*/ 238 h 425"/>
                  <a:gd name="T66" fmla="*/ 160 w 373"/>
                  <a:gd name="T67" fmla="*/ 265 h 425"/>
                  <a:gd name="T68" fmla="*/ 54 w 373"/>
                  <a:gd name="T69" fmla="*/ 265 h 425"/>
                  <a:gd name="T70" fmla="*/ 54 w 373"/>
                  <a:gd name="T71" fmla="*/ 238 h 425"/>
                  <a:gd name="T72" fmla="*/ 54 w 373"/>
                  <a:gd name="T73" fmla="*/ 291 h 425"/>
                  <a:gd name="T74" fmla="*/ 54 w 373"/>
                  <a:gd name="T75" fmla="*/ 291 h 425"/>
                  <a:gd name="T76" fmla="*/ 160 w 373"/>
                  <a:gd name="T77" fmla="*/ 291 h 425"/>
                  <a:gd name="T78" fmla="*/ 160 w 373"/>
                  <a:gd name="T79" fmla="*/ 318 h 425"/>
                  <a:gd name="T80" fmla="*/ 54 w 373"/>
                  <a:gd name="T81" fmla="*/ 318 h 425"/>
                  <a:gd name="T82" fmla="*/ 54 w 373"/>
                  <a:gd name="T83" fmla="*/ 291 h 425"/>
                  <a:gd name="T84" fmla="*/ 54 w 373"/>
                  <a:gd name="T85" fmla="*/ 345 h 425"/>
                  <a:gd name="T86" fmla="*/ 54 w 373"/>
                  <a:gd name="T87" fmla="*/ 345 h 425"/>
                  <a:gd name="T88" fmla="*/ 160 w 373"/>
                  <a:gd name="T89" fmla="*/ 345 h 425"/>
                  <a:gd name="T90" fmla="*/ 160 w 373"/>
                  <a:gd name="T91" fmla="*/ 371 h 425"/>
                  <a:gd name="T92" fmla="*/ 54 w 373"/>
                  <a:gd name="T93" fmla="*/ 371 h 425"/>
                  <a:gd name="T94" fmla="*/ 54 w 373"/>
                  <a:gd name="T95" fmla="*/ 34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425">
                    <a:moveTo>
                      <a:pt x="0" y="425"/>
                    </a:moveTo>
                    <a:lnTo>
                      <a:pt x="0" y="425"/>
                    </a:lnTo>
                    <a:lnTo>
                      <a:pt x="373" y="425"/>
                    </a:lnTo>
                    <a:lnTo>
                      <a:pt x="373" y="0"/>
                    </a:lnTo>
                    <a:lnTo>
                      <a:pt x="0" y="0"/>
                    </a:lnTo>
                    <a:lnTo>
                      <a:pt x="0" y="425"/>
                    </a:lnTo>
                    <a:close/>
                    <a:moveTo>
                      <a:pt x="54" y="52"/>
                    </a:moveTo>
                    <a:lnTo>
                      <a:pt x="54" y="52"/>
                    </a:lnTo>
                    <a:lnTo>
                      <a:pt x="320" y="52"/>
                    </a:lnTo>
                    <a:lnTo>
                      <a:pt x="320" y="79"/>
                    </a:lnTo>
                    <a:lnTo>
                      <a:pt x="54" y="79"/>
                    </a:lnTo>
                    <a:lnTo>
                      <a:pt x="54" y="52"/>
                    </a:lnTo>
                    <a:close/>
                    <a:moveTo>
                      <a:pt x="54" y="104"/>
                    </a:moveTo>
                    <a:lnTo>
                      <a:pt x="54" y="104"/>
                    </a:lnTo>
                    <a:lnTo>
                      <a:pt x="320" y="104"/>
                    </a:lnTo>
                    <a:lnTo>
                      <a:pt x="320" y="131"/>
                    </a:lnTo>
                    <a:lnTo>
                      <a:pt x="54" y="131"/>
                    </a:lnTo>
                    <a:lnTo>
                      <a:pt x="54" y="104"/>
                    </a:lnTo>
                    <a:close/>
                    <a:moveTo>
                      <a:pt x="54" y="163"/>
                    </a:moveTo>
                    <a:lnTo>
                      <a:pt x="54" y="163"/>
                    </a:lnTo>
                    <a:lnTo>
                      <a:pt x="320" y="163"/>
                    </a:lnTo>
                    <a:lnTo>
                      <a:pt x="320" y="189"/>
                    </a:lnTo>
                    <a:lnTo>
                      <a:pt x="54" y="189"/>
                    </a:lnTo>
                    <a:lnTo>
                      <a:pt x="54" y="163"/>
                    </a:lnTo>
                    <a:close/>
                    <a:moveTo>
                      <a:pt x="187" y="238"/>
                    </a:moveTo>
                    <a:lnTo>
                      <a:pt x="187" y="238"/>
                    </a:lnTo>
                    <a:lnTo>
                      <a:pt x="320" y="238"/>
                    </a:lnTo>
                    <a:lnTo>
                      <a:pt x="320" y="371"/>
                    </a:lnTo>
                    <a:lnTo>
                      <a:pt x="187" y="371"/>
                    </a:lnTo>
                    <a:lnTo>
                      <a:pt x="187" y="238"/>
                    </a:lnTo>
                    <a:close/>
                    <a:moveTo>
                      <a:pt x="54" y="238"/>
                    </a:moveTo>
                    <a:lnTo>
                      <a:pt x="54" y="238"/>
                    </a:lnTo>
                    <a:lnTo>
                      <a:pt x="160" y="238"/>
                    </a:lnTo>
                    <a:lnTo>
                      <a:pt x="160" y="265"/>
                    </a:lnTo>
                    <a:lnTo>
                      <a:pt x="54" y="265"/>
                    </a:lnTo>
                    <a:lnTo>
                      <a:pt x="54" y="238"/>
                    </a:lnTo>
                    <a:close/>
                    <a:moveTo>
                      <a:pt x="54" y="291"/>
                    </a:moveTo>
                    <a:lnTo>
                      <a:pt x="54" y="291"/>
                    </a:lnTo>
                    <a:lnTo>
                      <a:pt x="160" y="291"/>
                    </a:lnTo>
                    <a:lnTo>
                      <a:pt x="160" y="318"/>
                    </a:lnTo>
                    <a:lnTo>
                      <a:pt x="54" y="318"/>
                    </a:lnTo>
                    <a:lnTo>
                      <a:pt x="54" y="291"/>
                    </a:lnTo>
                    <a:close/>
                    <a:moveTo>
                      <a:pt x="54" y="345"/>
                    </a:moveTo>
                    <a:lnTo>
                      <a:pt x="54" y="345"/>
                    </a:lnTo>
                    <a:lnTo>
                      <a:pt x="160" y="345"/>
                    </a:lnTo>
                    <a:lnTo>
                      <a:pt x="160" y="371"/>
                    </a:lnTo>
                    <a:lnTo>
                      <a:pt x="54" y="371"/>
                    </a:lnTo>
                    <a:lnTo>
                      <a:pt x="54" y="345"/>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189">
                <a:extLst>
                  <a:ext uri="{FF2B5EF4-FFF2-40B4-BE49-F238E27FC236}">
                    <a16:creationId xmlns:a16="http://schemas.microsoft.com/office/drawing/2014/main" id="{C5CA4300-4D3B-42D7-B020-7EFABCFE8455}"/>
                  </a:ext>
                </a:extLst>
              </p:cNvPr>
              <p:cNvSpPr>
                <a:spLocks/>
              </p:cNvSpPr>
              <p:nvPr/>
            </p:nvSpPr>
            <p:spPr bwMode="auto">
              <a:xfrm>
                <a:off x="1588" y="2873"/>
                <a:ext cx="65" cy="17"/>
              </a:xfrm>
              <a:custGeom>
                <a:avLst/>
                <a:gdLst>
                  <a:gd name="T0" fmla="*/ 0 w 106"/>
                  <a:gd name="T1" fmla="*/ 27 h 27"/>
                  <a:gd name="T2" fmla="*/ 0 w 106"/>
                  <a:gd name="T3" fmla="*/ 27 h 27"/>
                  <a:gd name="T4" fmla="*/ 106 w 106"/>
                  <a:gd name="T5" fmla="*/ 27 h 27"/>
                  <a:gd name="T6" fmla="*/ 106 w 106"/>
                  <a:gd name="T7" fmla="*/ 0 h 27"/>
                  <a:gd name="T8" fmla="*/ 0 w 106"/>
                  <a:gd name="T9" fmla="*/ 0 h 27"/>
                  <a:gd name="T10" fmla="*/ 0 w 106"/>
                  <a:gd name="T11" fmla="*/ 27 h 27"/>
                </a:gdLst>
                <a:ahLst/>
                <a:cxnLst>
                  <a:cxn ang="0">
                    <a:pos x="T0" y="T1"/>
                  </a:cxn>
                  <a:cxn ang="0">
                    <a:pos x="T2" y="T3"/>
                  </a:cxn>
                  <a:cxn ang="0">
                    <a:pos x="T4" y="T5"/>
                  </a:cxn>
                  <a:cxn ang="0">
                    <a:pos x="T6" y="T7"/>
                  </a:cxn>
                  <a:cxn ang="0">
                    <a:pos x="T8" y="T9"/>
                  </a:cxn>
                  <a:cxn ang="0">
                    <a:pos x="T10" y="T11"/>
                  </a:cxn>
                </a:cxnLst>
                <a:rect l="0" t="0" r="r" b="b"/>
                <a:pathLst>
                  <a:path w="106" h="27">
                    <a:moveTo>
                      <a:pt x="0" y="27"/>
                    </a:moveTo>
                    <a:lnTo>
                      <a:pt x="0" y="27"/>
                    </a:lnTo>
                    <a:lnTo>
                      <a:pt x="106" y="27"/>
                    </a:lnTo>
                    <a:lnTo>
                      <a:pt x="106" y="0"/>
                    </a:lnTo>
                    <a:lnTo>
                      <a:pt x="0" y="0"/>
                    </a:lnTo>
                    <a:lnTo>
                      <a:pt x="0" y="27"/>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190">
                <a:extLst>
                  <a:ext uri="{FF2B5EF4-FFF2-40B4-BE49-F238E27FC236}">
                    <a16:creationId xmlns:a16="http://schemas.microsoft.com/office/drawing/2014/main" id="{AA6B25FF-C6B4-4110-B814-BDB1C77ABC0F}"/>
                  </a:ext>
                </a:extLst>
              </p:cNvPr>
              <p:cNvSpPr>
                <a:spLocks/>
              </p:cNvSpPr>
              <p:nvPr/>
            </p:nvSpPr>
            <p:spPr bwMode="auto">
              <a:xfrm>
                <a:off x="1588" y="2758"/>
                <a:ext cx="165" cy="17"/>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191">
                <a:extLst>
                  <a:ext uri="{FF2B5EF4-FFF2-40B4-BE49-F238E27FC236}">
                    <a16:creationId xmlns:a16="http://schemas.microsoft.com/office/drawing/2014/main" id="{6C69975A-0D36-421C-80F2-F6557589CD6D}"/>
                  </a:ext>
                </a:extLst>
              </p:cNvPr>
              <p:cNvSpPr>
                <a:spLocks noEditPoints="1"/>
              </p:cNvSpPr>
              <p:nvPr/>
            </p:nvSpPr>
            <p:spPr bwMode="auto">
              <a:xfrm>
                <a:off x="1670" y="2873"/>
                <a:ext cx="83" cy="83"/>
              </a:xfrm>
              <a:custGeom>
                <a:avLst/>
                <a:gdLst>
                  <a:gd name="T0" fmla="*/ 26 w 133"/>
                  <a:gd name="T1" fmla="*/ 27 h 133"/>
                  <a:gd name="T2" fmla="*/ 26 w 133"/>
                  <a:gd name="T3" fmla="*/ 27 h 133"/>
                  <a:gd name="T4" fmla="*/ 106 w 133"/>
                  <a:gd name="T5" fmla="*/ 27 h 133"/>
                  <a:gd name="T6" fmla="*/ 106 w 133"/>
                  <a:gd name="T7" fmla="*/ 107 h 133"/>
                  <a:gd name="T8" fmla="*/ 26 w 133"/>
                  <a:gd name="T9" fmla="*/ 107 h 133"/>
                  <a:gd name="T10" fmla="*/ 26 w 133"/>
                  <a:gd name="T11" fmla="*/ 27 h 133"/>
                  <a:gd name="T12" fmla="*/ 0 w 133"/>
                  <a:gd name="T13" fmla="*/ 133 h 133"/>
                  <a:gd name="T14" fmla="*/ 0 w 133"/>
                  <a:gd name="T15" fmla="*/ 133 h 133"/>
                  <a:gd name="T16" fmla="*/ 133 w 133"/>
                  <a:gd name="T17" fmla="*/ 133 h 133"/>
                  <a:gd name="T18" fmla="*/ 133 w 133"/>
                  <a:gd name="T19" fmla="*/ 0 h 133"/>
                  <a:gd name="T20" fmla="*/ 0 w 133"/>
                  <a:gd name="T21" fmla="*/ 0 h 133"/>
                  <a:gd name="T22" fmla="*/ 0 w 133"/>
                  <a:gd name="T2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133">
                    <a:moveTo>
                      <a:pt x="26" y="27"/>
                    </a:moveTo>
                    <a:lnTo>
                      <a:pt x="26" y="27"/>
                    </a:lnTo>
                    <a:lnTo>
                      <a:pt x="106" y="27"/>
                    </a:lnTo>
                    <a:lnTo>
                      <a:pt x="106" y="107"/>
                    </a:lnTo>
                    <a:lnTo>
                      <a:pt x="26" y="107"/>
                    </a:lnTo>
                    <a:lnTo>
                      <a:pt x="26" y="27"/>
                    </a:lnTo>
                    <a:close/>
                    <a:moveTo>
                      <a:pt x="0" y="133"/>
                    </a:moveTo>
                    <a:lnTo>
                      <a:pt x="0" y="133"/>
                    </a:lnTo>
                    <a:lnTo>
                      <a:pt x="133" y="133"/>
                    </a:lnTo>
                    <a:lnTo>
                      <a:pt x="133" y="0"/>
                    </a:lnTo>
                    <a:lnTo>
                      <a:pt x="0" y="0"/>
                    </a:lnTo>
                    <a:lnTo>
                      <a:pt x="0" y="133"/>
                    </a:lnTo>
                    <a:close/>
                  </a:path>
                </a:pathLst>
              </a:custGeom>
              <a:solidFill>
                <a:schemeClr val="accent5"/>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6F254684-4B68-4D40-8286-F5D0B8DEF23F}"/>
              </a:ext>
            </a:extLst>
          </p:cNvPr>
          <p:cNvGrpSpPr/>
          <p:nvPr/>
        </p:nvGrpSpPr>
        <p:grpSpPr>
          <a:xfrm>
            <a:off x="4139011" y="845323"/>
            <a:ext cx="2130333" cy="2245795"/>
            <a:chOff x="4139011" y="845323"/>
            <a:chExt cx="2130333" cy="2245795"/>
          </a:xfrm>
        </p:grpSpPr>
        <p:sp>
          <p:nvSpPr>
            <p:cNvPr id="59" name="Rectangle 58">
              <a:extLst>
                <a:ext uri="{FF2B5EF4-FFF2-40B4-BE49-F238E27FC236}">
                  <a16:creationId xmlns:a16="http://schemas.microsoft.com/office/drawing/2014/main" id="{E8C69040-AE27-4772-9C32-AB0EA9BB7982}"/>
                </a:ext>
              </a:extLst>
            </p:cNvPr>
            <p:cNvSpPr/>
            <p:nvPr/>
          </p:nvSpPr>
          <p:spPr>
            <a:xfrm>
              <a:off x="4139011" y="845323"/>
              <a:ext cx="2130333"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Software and hardware refresh</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136" name="Group 197">
              <a:extLst>
                <a:ext uri="{FF2B5EF4-FFF2-40B4-BE49-F238E27FC236}">
                  <a16:creationId xmlns:a16="http://schemas.microsoft.com/office/drawing/2014/main" id="{5CD2592D-7570-4918-AE19-61B1B8DF518B}"/>
                </a:ext>
              </a:extLst>
            </p:cNvPr>
            <p:cNvGrpSpPr>
              <a:grpSpLocks noChangeAspect="1"/>
            </p:cNvGrpSpPr>
            <p:nvPr/>
          </p:nvGrpSpPr>
          <p:grpSpPr bwMode="auto">
            <a:xfrm>
              <a:off x="5284519" y="2557663"/>
              <a:ext cx="503029" cy="533455"/>
              <a:chOff x="2414" y="2716"/>
              <a:chExt cx="248" cy="263"/>
            </a:xfrm>
            <a:solidFill>
              <a:schemeClr val="tx1">
                <a:lumMod val="90000"/>
                <a:lumOff val="10000"/>
              </a:schemeClr>
            </a:solidFill>
          </p:grpSpPr>
          <p:sp>
            <p:nvSpPr>
              <p:cNvPr id="137" name="Freeform 198">
                <a:extLst>
                  <a:ext uri="{FF2B5EF4-FFF2-40B4-BE49-F238E27FC236}">
                    <a16:creationId xmlns:a16="http://schemas.microsoft.com/office/drawing/2014/main" id="{D3107DA6-D98B-4DFB-83EE-CBEF5F1875F6}"/>
                  </a:ext>
                </a:extLst>
              </p:cNvPr>
              <p:cNvSpPr>
                <a:spLocks/>
              </p:cNvSpPr>
              <p:nvPr/>
            </p:nvSpPr>
            <p:spPr bwMode="auto">
              <a:xfrm rot="10800000">
                <a:off x="2445" y="2784"/>
                <a:ext cx="47" cy="53"/>
              </a:xfrm>
              <a:custGeom>
                <a:avLst/>
                <a:gdLst>
                  <a:gd name="T0" fmla="*/ 46 w 77"/>
                  <a:gd name="T1" fmla="*/ 85 h 85"/>
                  <a:gd name="T2" fmla="*/ 46 w 77"/>
                  <a:gd name="T3" fmla="*/ 85 h 85"/>
                  <a:gd name="T4" fmla="*/ 46 w 77"/>
                  <a:gd name="T5" fmla="*/ 31 h 85"/>
                  <a:gd name="T6" fmla="*/ 65 w 77"/>
                  <a:gd name="T7" fmla="*/ 50 h 85"/>
                  <a:gd name="T8" fmla="*/ 77 w 77"/>
                  <a:gd name="T9" fmla="*/ 38 h 85"/>
                  <a:gd name="T10" fmla="*/ 38 w 77"/>
                  <a:gd name="T11" fmla="*/ 0 h 85"/>
                  <a:gd name="T12" fmla="*/ 0 w 77"/>
                  <a:gd name="T13" fmla="*/ 38 h 85"/>
                  <a:gd name="T14" fmla="*/ 12 w 77"/>
                  <a:gd name="T15" fmla="*/ 50 h 85"/>
                  <a:gd name="T16" fmla="*/ 30 w 77"/>
                  <a:gd name="T17" fmla="*/ 31 h 85"/>
                  <a:gd name="T18" fmla="*/ 30 w 77"/>
                  <a:gd name="T19" fmla="*/ 85 h 85"/>
                  <a:gd name="T20" fmla="*/ 46 w 7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85">
                    <a:moveTo>
                      <a:pt x="46" y="85"/>
                    </a:moveTo>
                    <a:lnTo>
                      <a:pt x="46" y="85"/>
                    </a:lnTo>
                    <a:lnTo>
                      <a:pt x="46" y="31"/>
                    </a:lnTo>
                    <a:lnTo>
                      <a:pt x="65" y="50"/>
                    </a:lnTo>
                    <a:lnTo>
                      <a:pt x="77" y="38"/>
                    </a:lnTo>
                    <a:lnTo>
                      <a:pt x="38" y="0"/>
                    </a:lnTo>
                    <a:lnTo>
                      <a:pt x="0" y="38"/>
                    </a:lnTo>
                    <a:lnTo>
                      <a:pt x="12" y="50"/>
                    </a:lnTo>
                    <a:lnTo>
                      <a:pt x="30" y="31"/>
                    </a:lnTo>
                    <a:lnTo>
                      <a:pt x="30" y="85"/>
                    </a:lnTo>
                    <a:lnTo>
                      <a:pt x="46" y="8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199">
                <a:extLst>
                  <a:ext uri="{FF2B5EF4-FFF2-40B4-BE49-F238E27FC236}">
                    <a16:creationId xmlns:a16="http://schemas.microsoft.com/office/drawing/2014/main" id="{6C964708-140F-47F9-9121-BAE6AB51FE2D}"/>
                  </a:ext>
                </a:extLst>
              </p:cNvPr>
              <p:cNvSpPr>
                <a:spLocks/>
              </p:cNvSpPr>
              <p:nvPr/>
            </p:nvSpPr>
            <p:spPr bwMode="auto">
              <a:xfrm>
                <a:off x="2414" y="2716"/>
                <a:ext cx="141" cy="88"/>
              </a:xfrm>
              <a:custGeom>
                <a:avLst/>
                <a:gdLst>
                  <a:gd name="T0" fmla="*/ 4 w 227"/>
                  <a:gd name="T1" fmla="*/ 107 h 142"/>
                  <a:gd name="T2" fmla="*/ 4 w 227"/>
                  <a:gd name="T3" fmla="*/ 107 h 142"/>
                  <a:gd name="T4" fmla="*/ 16 w 227"/>
                  <a:gd name="T5" fmla="*/ 125 h 142"/>
                  <a:gd name="T6" fmla="*/ 34 w 227"/>
                  <a:gd name="T7" fmla="*/ 137 h 142"/>
                  <a:gd name="T8" fmla="*/ 36 w 227"/>
                  <a:gd name="T9" fmla="*/ 138 h 142"/>
                  <a:gd name="T10" fmla="*/ 87 w 227"/>
                  <a:gd name="T11" fmla="*/ 87 h 142"/>
                  <a:gd name="T12" fmla="*/ 142 w 227"/>
                  <a:gd name="T13" fmla="*/ 142 h 142"/>
                  <a:gd name="T14" fmla="*/ 185 w 227"/>
                  <a:gd name="T15" fmla="*/ 142 h 142"/>
                  <a:gd name="T16" fmla="*/ 201 w 227"/>
                  <a:gd name="T17" fmla="*/ 138 h 142"/>
                  <a:gd name="T18" fmla="*/ 215 w 227"/>
                  <a:gd name="T19" fmla="*/ 129 h 142"/>
                  <a:gd name="T20" fmla="*/ 224 w 227"/>
                  <a:gd name="T21" fmla="*/ 116 h 142"/>
                  <a:gd name="T22" fmla="*/ 227 w 227"/>
                  <a:gd name="T23" fmla="*/ 99 h 142"/>
                  <a:gd name="T24" fmla="*/ 224 w 227"/>
                  <a:gd name="T25" fmla="*/ 82 h 142"/>
                  <a:gd name="T26" fmla="*/ 215 w 227"/>
                  <a:gd name="T27" fmla="*/ 69 h 142"/>
                  <a:gd name="T28" fmla="*/ 201 w 227"/>
                  <a:gd name="T29" fmla="*/ 60 h 142"/>
                  <a:gd name="T30" fmla="*/ 184 w 227"/>
                  <a:gd name="T31" fmla="*/ 56 h 142"/>
                  <a:gd name="T32" fmla="*/ 177 w 227"/>
                  <a:gd name="T33" fmla="*/ 34 h 142"/>
                  <a:gd name="T34" fmla="*/ 163 w 227"/>
                  <a:gd name="T35" fmla="*/ 16 h 142"/>
                  <a:gd name="T36" fmla="*/ 144 w 227"/>
                  <a:gd name="T37" fmla="*/ 4 h 142"/>
                  <a:gd name="T38" fmla="*/ 121 w 227"/>
                  <a:gd name="T39" fmla="*/ 0 h 142"/>
                  <a:gd name="T40" fmla="*/ 105 w 227"/>
                  <a:gd name="T41" fmla="*/ 2 h 142"/>
                  <a:gd name="T42" fmla="*/ 90 w 227"/>
                  <a:gd name="T43" fmla="*/ 7 h 142"/>
                  <a:gd name="T44" fmla="*/ 77 w 227"/>
                  <a:gd name="T45" fmla="*/ 17 h 142"/>
                  <a:gd name="T46" fmla="*/ 67 w 227"/>
                  <a:gd name="T47" fmla="*/ 29 h 142"/>
                  <a:gd name="T48" fmla="*/ 57 w 227"/>
                  <a:gd name="T49" fmla="*/ 28 h 142"/>
                  <a:gd name="T50" fmla="*/ 34 w 227"/>
                  <a:gd name="T51" fmla="*/ 32 h 142"/>
                  <a:gd name="T52" fmla="*/ 16 w 227"/>
                  <a:gd name="T53" fmla="*/ 45 h 142"/>
                  <a:gd name="T54" fmla="*/ 4 w 227"/>
                  <a:gd name="T55" fmla="*/ 63 h 142"/>
                  <a:gd name="T56" fmla="*/ 0 w 227"/>
                  <a:gd name="T57" fmla="*/ 85 h 142"/>
                  <a:gd name="T58" fmla="*/ 4 w 227"/>
                  <a:gd name="T59" fmla="*/ 10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142">
                    <a:moveTo>
                      <a:pt x="4" y="107"/>
                    </a:moveTo>
                    <a:lnTo>
                      <a:pt x="4" y="107"/>
                    </a:lnTo>
                    <a:cubicBezTo>
                      <a:pt x="7" y="114"/>
                      <a:pt x="11" y="120"/>
                      <a:pt x="16" y="125"/>
                    </a:cubicBezTo>
                    <a:cubicBezTo>
                      <a:pt x="21" y="130"/>
                      <a:pt x="27" y="134"/>
                      <a:pt x="34" y="137"/>
                    </a:cubicBezTo>
                    <a:cubicBezTo>
                      <a:pt x="35" y="137"/>
                      <a:pt x="35" y="138"/>
                      <a:pt x="36" y="138"/>
                    </a:cubicBezTo>
                    <a:lnTo>
                      <a:pt x="87" y="87"/>
                    </a:lnTo>
                    <a:lnTo>
                      <a:pt x="142" y="142"/>
                    </a:lnTo>
                    <a:lnTo>
                      <a:pt x="185" y="142"/>
                    </a:lnTo>
                    <a:cubicBezTo>
                      <a:pt x="190" y="142"/>
                      <a:pt x="196" y="141"/>
                      <a:pt x="201" y="138"/>
                    </a:cubicBezTo>
                    <a:cubicBezTo>
                      <a:pt x="206" y="136"/>
                      <a:pt x="211" y="133"/>
                      <a:pt x="215" y="129"/>
                    </a:cubicBezTo>
                    <a:cubicBezTo>
                      <a:pt x="219" y="125"/>
                      <a:pt x="222" y="121"/>
                      <a:pt x="224" y="116"/>
                    </a:cubicBezTo>
                    <a:cubicBezTo>
                      <a:pt x="226" y="111"/>
                      <a:pt x="227" y="105"/>
                      <a:pt x="227" y="99"/>
                    </a:cubicBezTo>
                    <a:cubicBezTo>
                      <a:pt x="227" y="93"/>
                      <a:pt x="226" y="87"/>
                      <a:pt x="224" y="82"/>
                    </a:cubicBezTo>
                    <a:cubicBezTo>
                      <a:pt x="222" y="77"/>
                      <a:pt x="218" y="73"/>
                      <a:pt x="215" y="69"/>
                    </a:cubicBezTo>
                    <a:cubicBezTo>
                      <a:pt x="211" y="65"/>
                      <a:pt x="206" y="62"/>
                      <a:pt x="201" y="60"/>
                    </a:cubicBezTo>
                    <a:cubicBezTo>
                      <a:pt x="196" y="57"/>
                      <a:pt x="190" y="56"/>
                      <a:pt x="184" y="56"/>
                    </a:cubicBezTo>
                    <a:cubicBezTo>
                      <a:pt x="183" y="48"/>
                      <a:pt x="181" y="41"/>
                      <a:pt x="177" y="34"/>
                    </a:cubicBezTo>
                    <a:cubicBezTo>
                      <a:pt x="173" y="27"/>
                      <a:pt x="169" y="21"/>
                      <a:pt x="163" y="16"/>
                    </a:cubicBezTo>
                    <a:cubicBezTo>
                      <a:pt x="158" y="11"/>
                      <a:pt x="151" y="7"/>
                      <a:pt x="144" y="4"/>
                    </a:cubicBezTo>
                    <a:cubicBezTo>
                      <a:pt x="137" y="2"/>
                      <a:pt x="129" y="0"/>
                      <a:pt x="121" y="0"/>
                    </a:cubicBezTo>
                    <a:cubicBezTo>
                      <a:pt x="115" y="0"/>
                      <a:pt x="110" y="1"/>
                      <a:pt x="105" y="2"/>
                    </a:cubicBezTo>
                    <a:cubicBezTo>
                      <a:pt x="99" y="4"/>
                      <a:pt x="94" y="5"/>
                      <a:pt x="90" y="7"/>
                    </a:cubicBezTo>
                    <a:cubicBezTo>
                      <a:pt x="85" y="10"/>
                      <a:pt x="81" y="13"/>
                      <a:pt x="77" y="17"/>
                    </a:cubicBezTo>
                    <a:cubicBezTo>
                      <a:pt x="73" y="20"/>
                      <a:pt x="70" y="24"/>
                      <a:pt x="67" y="29"/>
                    </a:cubicBezTo>
                    <a:cubicBezTo>
                      <a:pt x="63" y="28"/>
                      <a:pt x="60" y="28"/>
                      <a:pt x="57" y="28"/>
                    </a:cubicBezTo>
                    <a:cubicBezTo>
                      <a:pt x="49" y="28"/>
                      <a:pt x="41" y="29"/>
                      <a:pt x="34" y="32"/>
                    </a:cubicBezTo>
                    <a:cubicBezTo>
                      <a:pt x="27" y="35"/>
                      <a:pt x="21" y="39"/>
                      <a:pt x="16" y="45"/>
                    </a:cubicBezTo>
                    <a:cubicBezTo>
                      <a:pt x="11" y="50"/>
                      <a:pt x="7" y="56"/>
                      <a:pt x="4" y="63"/>
                    </a:cubicBezTo>
                    <a:cubicBezTo>
                      <a:pt x="1" y="70"/>
                      <a:pt x="0" y="77"/>
                      <a:pt x="0" y="85"/>
                    </a:cubicBezTo>
                    <a:cubicBezTo>
                      <a:pt x="0" y="93"/>
                      <a:pt x="1" y="100"/>
                      <a:pt x="4" y="10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200">
                <a:extLst>
                  <a:ext uri="{FF2B5EF4-FFF2-40B4-BE49-F238E27FC236}">
                    <a16:creationId xmlns:a16="http://schemas.microsoft.com/office/drawing/2014/main" id="{6720566E-4C5A-40FB-85B9-8EBF82B5B78D}"/>
                  </a:ext>
                </a:extLst>
              </p:cNvPr>
              <p:cNvSpPr>
                <a:spLocks noEditPoints="1"/>
              </p:cNvSpPr>
              <p:nvPr/>
            </p:nvSpPr>
            <p:spPr bwMode="auto">
              <a:xfrm>
                <a:off x="2453" y="2918"/>
                <a:ext cx="30" cy="56"/>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201">
                <a:extLst>
                  <a:ext uri="{FF2B5EF4-FFF2-40B4-BE49-F238E27FC236}">
                    <a16:creationId xmlns:a16="http://schemas.microsoft.com/office/drawing/2014/main" id="{867CC211-F0B4-4B0B-B6BA-C8410CDE44E1}"/>
                  </a:ext>
                </a:extLst>
              </p:cNvPr>
              <p:cNvSpPr>
                <a:spLocks/>
              </p:cNvSpPr>
              <p:nvPr/>
            </p:nvSpPr>
            <p:spPr bwMode="auto">
              <a:xfrm>
                <a:off x="2422" y="2838"/>
                <a:ext cx="187" cy="141"/>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27">
                    <a:moveTo>
                      <a:pt x="190" y="174"/>
                    </a:moveTo>
                    <a:lnTo>
                      <a:pt x="190" y="174"/>
                    </a:lnTo>
                    <a:lnTo>
                      <a:pt x="190" y="109"/>
                    </a:lnTo>
                    <a:cubicBezTo>
                      <a:pt x="190" y="106"/>
                      <a:pt x="191" y="103"/>
                      <a:pt x="192" y="100"/>
                    </a:cubicBezTo>
                    <a:cubicBezTo>
                      <a:pt x="194" y="97"/>
                      <a:pt x="195" y="95"/>
                      <a:pt x="197" y="93"/>
                    </a:cubicBezTo>
                    <a:cubicBezTo>
                      <a:pt x="200" y="91"/>
                      <a:pt x="202" y="90"/>
                      <a:pt x="205" y="89"/>
                    </a:cubicBezTo>
                    <a:cubicBezTo>
                      <a:pt x="207" y="88"/>
                      <a:pt x="210" y="87"/>
                      <a:pt x="213" y="87"/>
                    </a:cubicBezTo>
                    <a:lnTo>
                      <a:pt x="301" y="87"/>
                    </a:lnTo>
                    <a:lnTo>
                      <a:pt x="301" y="0"/>
                    </a:lnTo>
                    <a:lnTo>
                      <a:pt x="99" y="0"/>
                    </a:lnTo>
                    <a:lnTo>
                      <a:pt x="99" y="13"/>
                    </a:lnTo>
                    <a:lnTo>
                      <a:pt x="50" y="13"/>
                    </a:lnTo>
                    <a:lnTo>
                      <a:pt x="50" y="0"/>
                    </a:lnTo>
                    <a:lnTo>
                      <a:pt x="0" y="0"/>
                    </a:lnTo>
                    <a:lnTo>
                      <a:pt x="0" y="174"/>
                    </a:lnTo>
                    <a:lnTo>
                      <a:pt x="34" y="174"/>
                    </a:lnTo>
                    <a:lnTo>
                      <a:pt x="34" y="127"/>
                    </a:lnTo>
                    <a:cubicBezTo>
                      <a:pt x="34" y="126"/>
                      <a:pt x="35" y="124"/>
                      <a:pt x="35" y="122"/>
                    </a:cubicBezTo>
                    <a:cubicBezTo>
                      <a:pt x="36" y="120"/>
                      <a:pt x="37" y="119"/>
                      <a:pt x="38" y="118"/>
                    </a:cubicBezTo>
                    <a:cubicBezTo>
                      <a:pt x="39" y="116"/>
                      <a:pt x="41" y="115"/>
                      <a:pt x="43" y="115"/>
                    </a:cubicBezTo>
                    <a:cubicBezTo>
                      <a:pt x="44" y="114"/>
                      <a:pt x="46" y="113"/>
                      <a:pt x="48" y="113"/>
                    </a:cubicBezTo>
                    <a:lnTo>
                      <a:pt x="99" y="113"/>
                    </a:lnTo>
                    <a:cubicBezTo>
                      <a:pt x="101" y="113"/>
                      <a:pt x="103" y="114"/>
                      <a:pt x="105" y="115"/>
                    </a:cubicBezTo>
                    <a:cubicBezTo>
                      <a:pt x="106" y="115"/>
                      <a:pt x="108" y="116"/>
                      <a:pt x="109" y="118"/>
                    </a:cubicBezTo>
                    <a:cubicBezTo>
                      <a:pt x="110" y="119"/>
                      <a:pt x="111" y="120"/>
                      <a:pt x="112" y="122"/>
                    </a:cubicBezTo>
                    <a:cubicBezTo>
                      <a:pt x="113" y="124"/>
                      <a:pt x="113" y="126"/>
                      <a:pt x="113" y="127"/>
                    </a:cubicBezTo>
                    <a:lnTo>
                      <a:pt x="113" y="174"/>
                    </a:lnTo>
                    <a:lnTo>
                      <a:pt x="132" y="174"/>
                    </a:lnTo>
                    <a:lnTo>
                      <a:pt x="132" y="200"/>
                    </a:lnTo>
                    <a:lnTo>
                      <a:pt x="113" y="200"/>
                    </a:lnTo>
                    <a:lnTo>
                      <a:pt x="113" y="220"/>
                    </a:lnTo>
                    <a:cubicBezTo>
                      <a:pt x="113" y="222"/>
                      <a:pt x="113" y="224"/>
                      <a:pt x="112" y="226"/>
                    </a:cubicBezTo>
                    <a:cubicBezTo>
                      <a:pt x="112" y="226"/>
                      <a:pt x="111" y="226"/>
                      <a:pt x="111" y="227"/>
                    </a:cubicBezTo>
                    <a:lnTo>
                      <a:pt x="197" y="227"/>
                    </a:lnTo>
                    <a:cubicBezTo>
                      <a:pt x="195" y="225"/>
                      <a:pt x="193" y="223"/>
                      <a:pt x="192" y="221"/>
                    </a:cubicBezTo>
                    <a:cubicBezTo>
                      <a:pt x="191" y="218"/>
                      <a:pt x="190" y="216"/>
                      <a:pt x="190" y="213"/>
                    </a:cubicBezTo>
                    <a:lnTo>
                      <a:pt x="190" y="200"/>
                    </a:lnTo>
                    <a:lnTo>
                      <a:pt x="159" y="200"/>
                    </a:lnTo>
                    <a:lnTo>
                      <a:pt x="159" y="174"/>
                    </a:lnTo>
                    <a:lnTo>
                      <a:pt x="190" y="1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1" name="Freeform 202">
                <a:extLst>
                  <a:ext uri="{FF2B5EF4-FFF2-40B4-BE49-F238E27FC236}">
                    <a16:creationId xmlns:a16="http://schemas.microsoft.com/office/drawing/2014/main" id="{8DB7728B-695E-46BC-BF2B-9D51C2CA5CAF}"/>
                  </a:ext>
                </a:extLst>
              </p:cNvPr>
              <p:cNvSpPr>
                <a:spLocks noEditPoints="1"/>
              </p:cNvSpPr>
              <p:nvPr/>
            </p:nvSpPr>
            <p:spPr bwMode="auto">
              <a:xfrm>
                <a:off x="2549" y="2902"/>
                <a:ext cx="113" cy="72"/>
              </a:xfrm>
              <a:custGeom>
                <a:avLst/>
                <a:gdLst>
                  <a:gd name="T0" fmla="*/ 76 w 182"/>
                  <a:gd name="T1" fmla="*/ 84 h 117"/>
                  <a:gd name="T2" fmla="*/ 76 w 182"/>
                  <a:gd name="T3" fmla="*/ 84 h 117"/>
                  <a:gd name="T4" fmla="*/ 106 w 182"/>
                  <a:gd name="T5" fmla="*/ 84 h 117"/>
                  <a:gd name="T6" fmla="*/ 106 w 182"/>
                  <a:gd name="T7" fmla="*/ 104 h 117"/>
                  <a:gd name="T8" fmla="*/ 76 w 182"/>
                  <a:gd name="T9" fmla="*/ 104 h 117"/>
                  <a:gd name="T10" fmla="*/ 76 w 182"/>
                  <a:gd name="T11" fmla="*/ 84 h 117"/>
                  <a:gd name="T12" fmla="*/ 2 w 182"/>
                  <a:gd name="T13" fmla="*/ 115 h 117"/>
                  <a:gd name="T14" fmla="*/ 2 w 182"/>
                  <a:gd name="T15" fmla="*/ 115 h 117"/>
                  <a:gd name="T16" fmla="*/ 5 w 182"/>
                  <a:gd name="T17" fmla="*/ 116 h 117"/>
                  <a:gd name="T18" fmla="*/ 8 w 182"/>
                  <a:gd name="T19" fmla="*/ 117 h 117"/>
                  <a:gd name="T20" fmla="*/ 174 w 182"/>
                  <a:gd name="T21" fmla="*/ 117 h 117"/>
                  <a:gd name="T22" fmla="*/ 177 w 182"/>
                  <a:gd name="T23" fmla="*/ 116 h 117"/>
                  <a:gd name="T24" fmla="*/ 180 w 182"/>
                  <a:gd name="T25" fmla="*/ 115 h 117"/>
                  <a:gd name="T26" fmla="*/ 182 w 182"/>
                  <a:gd name="T27" fmla="*/ 113 h 117"/>
                  <a:gd name="T28" fmla="*/ 182 w 182"/>
                  <a:gd name="T29" fmla="*/ 111 h 117"/>
                  <a:gd name="T30" fmla="*/ 182 w 182"/>
                  <a:gd name="T31" fmla="*/ 7 h 117"/>
                  <a:gd name="T32" fmla="*/ 182 w 182"/>
                  <a:gd name="T33" fmla="*/ 5 h 117"/>
                  <a:gd name="T34" fmla="*/ 180 w 182"/>
                  <a:gd name="T35" fmla="*/ 2 h 117"/>
                  <a:gd name="T36" fmla="*/ 177 w 182"/>
                  <a:gd name="T37" fmla="*/ 1 h 117"/>
                  <a:gd name="T38" fmla="*/ 174 w 182"/>
                  <a:gd name="T39" fmla="*/ 0 h 117"/>
                  <a:gd name="T40" fmla="*/ 8 w 182"/>
                  <a:gd name="T41" fmla="*/ 0 h 117"/>
                  <a:gd name="T42" fmla="*/ 5 w 182"/>
                  <a:gd name="T43" fmla="*/ 1 h 117"/>
                  <a:gd name="T44" fmla="*/ 2 w 182"/>
                  <a:gd name="T45" fmla="*/ 2 h 117"/>
                  <a:gd name="T46" fmla="*/ 1 w 182"/>
                  <a:gd name="T47" fmla="*/ 5 h 117"/>
                  <a:gd name="T48" fmla="*/ 0 w 182"/>
                  <a:gd name="T49" fmla="*/ 7 h 117"/>
                  <a:gd name="T50" fmla="*/ 0 w 182"/>
                  <a:gd name="T51" fmla="*/ 111 h 117"/>
                  <a:gd name="T52" fmla="*/ 1 w 182"/>
                  <a:gd name="T53" fmla="*/ 113 h 117"/>
                  <a:gd name="T54" fmla="*/ 2 w 182"/>
                  <a:gd name="T55"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2" h="117">
                    <a:moveTo>
                      <a:pt x="76" y="84"/>
                    </a:moveTo>
                    <a:lnTo>
                      <a:pt x="76" y="84"/>
                    </a:lnTo>
                    <a:lnTo>
                      <a:pt x="106" y="84"/>
                    </a:lnTo>
                    <a:lnTo>
                      <a:pt x="106" y="104"/>
                    </a:lnTo>
                    <a:lnTo>
                      <a:pt x="76" y="104"/>
                    </a:lnTo>
                    <a:lnTo>
                      <a:pt x="76" y="84"/>
                    </a:lnTo>
                    <a:close/>
                    <a:moveTo>
                      <a:pt x="2" y="115"/>
                    </a:moveTo>
                    <a:lnTo>
                      <a:pt x="2" y="115"/>
                    </a:lnTo>
                    <a:cubicBezTo>
                      <a:pt x="3" y="115"/>
                      <a:pt x="4" y="116"/>
                      <a:pt x="5" y="116"/>
                    </a:cubicBezTo>
                    <a:cubicBezTo>
                      <a:pt x="6" y="117"/>
                      <a:pt x="7" y="117"/>
                      <a:pt x="8" y="117"/>
                    </a:cubicBezTo>
                    <a:lnTo>
                      <a:pt x="174" y="117"/>
                    </a:lnTo>
                    <a:cubicBezTo>
                      <a:pt x="175" y="117"/>
                      <a:pt x="176" y="117"/>
                      <a:pt x="177" y="116"/>
                    </a:cubicBezTo>
                    <a:cubicBezTo>
                      <a:pt x="178" y="116"/>
                      <a:pt x="179" y="115"/>
                      <a:pt x="180" y="115"/>
                    </a:cubicBezTo>
                    <a:cubicBezTo>
                      <a:pt x="181" y="114"/>
                      <a:pt x="181" y="113"/>
                      <a:pt x="182" y="113"/>
                    </a:cubicBezTo>
                    <a:cubicBezTo>
                      <a:pt x="182" y="112"/>
                      <a:pt x="182" y="111"/>
                      <a:pt x="182" y="111"/>
                    </a:cubicBezTo>
                    <a:lnTo>
                      <a:pt x="182" y="7"/>
                    </a:lnTo>
                    <a:cubicBezTo>
                      <a:pt x="182" y="6"/>
                      <a:pt x="182" y="5"/>
                      <a:pt x="182" y="5"/>
                    </a:cubicBezTo>
                    <a:cubicBezTo>
                      <a:pt x="181" y="4"/>
                      <a:pt x="181" y="3"/>
                      <a:pt x="180" y="2"/>
                    </a:cubicBezTo>
                    <a:cubicBezTo>
                      <a:pt x="179" y="2"/>
                      <a:pt x="178" y="1"/>
                      <a:pt x="177" y="1"/>
                    </a:cubicBezTo>
                    <a:cubicBezTo>
                      <a:pt x="176" y="1"/>
                      <a:pt x="175" y="0"/>
                      <a:pt x="174" y="0"/>
                    </a:cubicBezTo>
                    <a:lnTo>
                      <a:pt x="8" y="0"/>
                    </a:lnTo>
                    <a:cubicBezTo>
                      <a:pt x="7" y="0"/>
                      <a:pt x="6" y="1"/>
                      <a:pt x="5" y="1"/>
                    </a:cubicBezTo>
                    <a:cubicBezTo>
                      <a:pt x="4" y="1"/>
                      <a:pt x="3" y="2"/>
                      <a:pt x="2" y="2"/>
                    </a:cubicBezTo>
                    <a:cubicBezTo>
                      <a:pt x="2" y="3"/>
                      <a:pt x="1" y="4"/>
                      <a:pt x="1" y="5"/>
                    </a:cubicBezTo>
                    <a:cubicBezTo>
                      <a:pt x="1" y="5"/>
                      <a:pt x="0" y="6"/>
                      <a:pt x="0" y="7"/>
                    </a:cubicBezTo>
                    <a:lnTo>
                      <a:pt x="0" y="111"/>
                    </a:lnTo>
                    <a:cubicBezTo>
                      <a:pt x="0" y="111"/>
                      <a:pt x="1" y="112"/>
                      <a:pt x="1" y="113"/>
                    </a:cubicBezTo>
                    <a:cubicBezTo>
                      <a:pt x="1" y="113"/>
                      <a:pt x="2" y="114"/>
                      <a:pt x="2" y="1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4A0D95FB-31E2-4461-A076-2CF46CC80849}"/>
              </a:ext>
            </a:extLst>
          </p:cNvPr>
          <p:cNvGrpSpPr/>
          <p:nvPr/>
        </p:nvGrpSpPr>
        <p:grpSpPr>
          <a:xfrm>
            <a:off x="913930" y="2940675"/>
            <a:ext cx="2687007" cy="1532860"/>
            <a:chOff x="913930" y="2940675"/>
            <a:chExt cx="2687007" cy="1532860"/>
          </a:xfrm>
        </p:grpSpPr>
        <p:sp>
          <p:nvSpPr>
            <p:cNvPr id="57" name="Rectangle 56">
              <a:extLst>
                <a:ext uri="{FF2B5EF4-FFF2-40B4-BE49-F238E27FC236}">
                  <a16:creationId xmlns:a16="http://schemas.microsoft.com/office/drawing/2014/main" id="{F2A90A9D-428F-40DB-ADFE-9392C11D3F45}"/>
                </a:ext>
              </a:extLst>
            </p:cNvPr>
            <p:cNvSpPr/>
            <p:nvPr/>
          </p:nvSpPr>
          <p:spPr>
            <a:xfrm>
              <a:off x="913930" y="2940675"/>
              <a:ext cx="1857846"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Quickly integrate </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cquisitions</a:t>
              </a:r>
            </a:p>
          </p:txBody>
        </p:sp>
        <p:grpSp>
          <p:nvGrpSpPr>
            <p:cNvPr id="142" name="Group 255">
              <a:extLst>
                <a:ext uri="{FF2B5EF4-FFF2-40B4-BE49-F238E27FC236}">
                  <a16:creationId xmlns:a16="http://schemas.microsoft.com/office/drawing/2014/main" id="{64D8E7FB-637C-495F-8F5D-7F7706DBC363}"/>
                </a:ext>
              </a:extLst>
            </p:cNvPr>
            <p:cNvGrpSpPr>
              <a:grpSpLocks noChangeAspect="1"/>
            </p:cNvGrpSpPr>
            <p:nvPr/>
          </p:nvGrpSpPr>
          <p:grpSpPr bwMode="auto">
            <a:xfrm>
              <a:off x="3181837" y="4056022"/>
              <a:ext cx="419100" cy="417513"/>
              <a:chOff x="669" y="3358"/>
              <a:chExt cx="264" cy="263"/>
            </a:xfrm>
            <a:solidFill>
              <a:schemeClr val="tx1">
                <a:lumMod val="90000"/>
                <a:lumOff val="10000"/>
              </a:schemeClr>
            </a:solidFill>
          </p:grpSpPr>
          <p:sp>
            <p:nvSpPr>
              <p:cNvPr id="144" name="Freeform 256">
                <a:extLst>
                  <a:ext uri="{FF2B5EF4-FFF2-40B4-BE49-F238E27FC236}">
                    <a16:creationId xmlns:a16="http://schemas.microsoft.com/office/drawing/2014/main" id="{1E11E818-B70D-4365-ADA6-A8D39C556FDE}"/>
                  </a:ext>
                </a:extLst>
              </p:cNvPr>
              <p:cNvSpPr>
                <a:spLocks noEditPoints="1"/>
              </p:cNvSpPr>
              <p:nvPr/>
            </p:nvSpPr>
            <p:spPr bwMode="auto">
              <a:xfrm>
                <a:off x="670" y="3500"/>
                <a:ext cx="49" cy="92"/>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5" name="Freeform 257">
                <a:extLst>
                  <a:ext uri="{FF2B5EF4-FFF2-40B4-BE49-F238E27FC236}">
                    <a16:creationId xmlns:a16="http://schemas.microsoft.com/office/drawing/2014/main" id="{1CA19366-ABA1-4A06-A06A-140E7AB669FC}"/>
                  </a:ext>
                </a:extLst>
              </p:cNvPr>
              <p:cNvSpPr>
                <a:spLocks noEditPoints="1"/>
              </p:cNvSpPr>
              <p:nvPr/>
            </p:nvSpPr>
            <p:spPr bwMode="auto">
              <a:xfrm>
                <a:off x="813" y="3505"/>
                <a:ext cx="116" cy="83"/>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6" name="Freeform 258">
                <a:extLst>
                  <a:ext uri="{FF2B5EF4-FFF2-40B4-BE49-F238E27FC236}">
                    <a16:creationId xmlns:a16="http://schemas.microsoft.com/office/drawing/2014/main" id="{5877E5EE-B3CC-4FDC-903F-82CE8BE01330}"/>
                  </a:ext>
                </a:extLst>
              </p:cNvPr>
              <p:cNvSpPr>
                <a:spLocks noEditPoints="1"/>
              </p:cNvSpPr>
              <p:nvPr/>
            </p:nvSpPr>
            <p:spPr bwMode="auto">
              <a:xfrm>
                <a:off x="831" y="3358"/>
                <a:ext cx="102" cy="101"/>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7" name="Freeform 259">
                <a:extLst>
                  <a:ext uri="{FF2B5EF4-FFF2-40B4-BE49-F238E27FC236}">
                    <a16:creationId xmlns:a16="http://schemas.microsoft.com/office/drawing/2014/main" id="{31B4DC70-A888-4C9A-8A15-655D5530F063}"/>
                  </a:ext>
                </a:extLst>
              </p:cNvPr>
              <p:cNvSpPr>
                <a:spLocks/>
              </p:cNvSpPr>
              <p:nvPr/>
            </p:nvSpPr>
            <p:spPr bwMode="auto">
              <a:xfrm>
                <a:off x="669" y="3422"/>
                <a:ext cx="250" cy="199"/>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79" name="TextBox 78">
            <a:extLst>
              <a:ext uri="{FF2B5EF4-FFF2-40B4-BE49-F238E27FC236}">
                <a16:creationId xmlns:a16="http://schemas.microsoft.com/office/drawing/2014/main" id="{3C6C182D-5467-4DA6-B8D6-0FF1F7886444}"/>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17907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5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25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250"/>
                                        <p:tgtEl>
                                          <p:spTgt spid="4"/>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25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25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250"/>
                                        <p:tgtEl>
                                          <p:spTgt spid="6"/>
                                        </p:tgtEl>
                                      </p:cBhvr>
                                    </p:animEffect>
                                  </p:childTnLst>
                                </p:cTn>
                              </p:par>
                              <p:par>
                                <p:cTn id="29" presetID="64" presetClass="path" presetSubtype="0" decel="100000" fill="hold" nodeType="withEffect">
                                  <p:stCondLst>
                                    <p:cond delay="0"/>
                                  </p:stCondLst>
                                  <p:childTnLst>
                                    <p:animMotion origin="layout" path="M 0.07864 0.09398 L 4.58333E-6 3.7037E-7 " pathEditMode="relative" rAng="0" ptsTypes="AA">
                                      <p:cBhvr>
                                        <p:cTn id="30" dur="750" fill="hold"/>
                                        <p:tgtEl>
                                          <p:spTgt spid="3"/>
                                        </p:tgtEl>
                                        <p:attrNameLst>
                                          <p:attrName>ppt_x</p:attrName>
                                          <p:attrName>ppt_y</p:attrName>
                                        </p:attrNameLst>
                                      </p:cBhvr>
                                      <p:rCtr x="-4271" y="-4630"/>
                                    </p:animMotion>
                                  </p:childTnLst>
                                </p:cTn>
                              </p:par>
                              <p:par>
                                <p:cTn id="31" presetID="64" presetClass="path" presetSubtype="0" decel="100000" fill="hold" nodeType="withEffect">
                                  <p:stCondLst>
                                    <p:cond delay="0"/>
                                  </p:stCondLst>
                                  <p:childTnLst>
                                    <p:animMotion origin="layout" path="M 0.02461 0.15439 L -1.45833E-6 -2.96296E-6 " pathEditMode="relative" rAng="0" ptsTypes="AA">
                                      <p:cBhvr>
                                        <p:cTn id="32" dur="750" fill="hold"/>
                                        <p:tgtEl>
                                          <p:spTgt spid="5"/>
                                        </p:tgtEl>
                                        <p:attrNameLst>
                                          <p:attrName>ppt_x</p:attrName>
                                          <p:attrName>ppt_y</p:attrName>
                                        </p:attrNameLst>
                                      </p:cBhvr>
                                      <p:rCtr x="-1276" y="-7662"/>
                                    </p:animMotion>
                                  </p:childTnLst>
                                </p:cTn>
                              </p:par>
                              <p:par>
                                <p:cTn id="33" presetID="64" presetClass="path" presetSubtype="0" decel="100000" fill="hold" nodeType="withEffect">
                                  <p:stCondLst>
                                    <p:cond delay="0"/>
                                  </p:stCondLst>
                                  <p:childTnLst>
                                    <p:animMotion origin="layout" path="M 0.17682 0.06667 L 3.33333E-6 1.48148E-6 " pathEditMode="relative" rAng="0" ptsTypes="AA">
                                      <p:cBhvr>
                                        <p:cTn id="34" dur="750" fill="hold"/>
                                        <p:tgtEl>
                                          <p:spTgt spid="2"/>
                                        </p:tgtEl>
                                        <p:attrNameLst>
                                          <p:attrName>ppt_x</p:attrName>
                                          <p:attrName>ppt_y</p:attrName>
                                        </p:attrNameLst>
                                      </p:cBhvr>
                                      <p:rCtr x="-8841" y="-3333"/>
                                    </p:animMotion>
                                  </p:childTnLst>
                                </p:cTn>
                              </p:par>
                              <p:par>
                                <p:cTn id="35" presetID="64" presetClass="path" presetSubtype="0" decel="100000" fill="hold" nodeType="withEffect">
                                  <p:stCondLst>
                                    <p:cond delay="0"/>
                                  </p:stCondLst>
                                  <p:childTnLst>
                                    <p:animMotion origin="layout" path="M 0.10807 0.22986 L 3.125E-6 4.07407E-6 " pathEditMode="relative" rAng="0" ptsTypes="AA">
                                      <p:cBhvr>
                                        <p:cTn id="36" dur="750" fill="hold"/>
                                        <p:tgtEl>
                                          <p:spTgt spid="4"/>
                                        </p:tgtEl>
                                        <p:attrNameLst>
                                          <p:attrName>ppt_x</p:attrName>
                                          <p:attrName>ppt_y</p:attrName>
                                        </p:attrNameLst>
                                      </p:cBhvr>
                                      <p:rCtr x="-5404" y="-11505"/>
                                    </p:animMotion>
                                  </p:childTnLst>
                                </p:cTn>
                              </p:par>
                              <p:par>
                                <p:cTn id="37" presetID="64" presetClass="path" presetSubtype="0" decel="100000" fill="hold" nodeType="withEffect">
                                  <p:stCondLst>
                                    <p:cond delay="0"/>
                                  </p:stCondLst>
                                  <p:childTnLst>
                                    <p:animMotion origin="layout" path="M -0.12109 0.10324 L -2.91667E-6 3.7037E-7 " pathEditMode="relative" rAng="0" ptsTypes="AA">
                                      <p:cBhvr>
                                        <p:cTn id="38" dur="750" fill="hold"/>
                                        <p:tgtEl>
                                          <p:spTgt spid="8"/>
                                        </p:tgtEl>
                                        <p:attrNameLst>
                                          <p:attrName>ppt_x</p:attrName>
                                          <p:attrName>ppt_y</p:attrName>
                                        </p:attrNameLst>
                                      </p:cBhvr>
                                      <p:rCtr x="6016" y="-5139"/>
                                    </p:animMotion>
                                  </p:childTnLst>
                                </p:cTn>
                              </p:par>
                              <p:par>
                                <p:cTn id="39" presetID="64" presetClass="path" presetSubtype="0" decel="100000" fill="hold" nodeType="withEffect">
                                  <p:stCondLst>
                                    <p:cond delay="0"/>
                                  </p:stCondLst>
                                  <p:childTnLst>
                                    <p:animMotion origin="layout" path="M -0.1474 0.04652 L -3.33333E-6 -3.7037E-7 " pathEditMode="relative" rAng="0" ptsTypes="AA">
                                      <p:cBhvr>
                                        <p:cTn id="40" dur="750" fill="hold"/>
                                        <p:tgtEl>
                                          <p:spTgt spid="12"/>
                                        </p:tgtEl>
                                        <p:attrNameLst>
                                          <p:attrName>ppt_x</p:attrName>
                                          <p:attrName>ppt_y</p:attrName>
                                        </p:attrNameLst>
                                      </p:cBhvr>
                                      <p:rCtr x="7461" y="-2454"/>
                                    </p:animMotion>
                                  </p:childTnLst>
                                </p:cTn>
                              </p:par>
                              <p:par>
                                <p:cTn id="41" presetID="64" presetClass="path" presetSubtype="0" decel="100000" fill="hold" nodeType="withEffect">
                                  <p:stCondLst>
                                    <p:cond delay="0"/>
                                  </p:stCondLst>
                                  <p:childTnLst>
                                    <p:animMotion origin="layout" path="M -0.0888 0.18403 L 8.33333E-7 4.85723E-17 " pathEditMode="relative" rAng="0" ptsTypes="AA">
                                      <p:cBhvr>
                                        <p:cTn id="42" dur="750" fill="hold"/>
                                        <p:tgtEl>
                                          <p:spTgt spid="7"/>
                                        </p:tgtEl>
                                        <p:attrNameLst>
                                          <p:attrName>ppt_x</p:attrName>
                                          <p:attrName>ppt_y</p:attrName>
                                        </p:attrNameLst>
                                      </p:cBhvr>
                                      <p:rCtr x="5273" y="-11181"/>
                                    </p:animMotion>
                                  </p:childTnLst>
                                </p:cTn>
                              </p:par>
                              <p:par>
                                <p:cTn id="43" presetID="64" presetClass="path" presetSubtype="0" decel="100000" fill="hold" nodeType="withEffect">
                                  <p:stCondLst>
                                    <p:cond delay="0"/>
                                  </p:stCondLst>
                                  <p:childTnLst>
                                    <p:animMotion origin="layout" path="M -0.0237 0.18357 L -1.45833E-6 -2.96296E-6 " pathEditMode="relative" rAng="0" ptsTypes="AA">
                                      <p:cBhvr>
                                        <p:cTn id="44" dur="750" fill="hold"/>
                                        <p:tgtEl>
                                          <p:spTgt spid="6"/>
                                        </p:tgtEl>
                                        <p:attrNameLst>
                                          <p:attrName>ppt_x</p:attrName>
                                          <p:attrName>ppt_y</p:attrName>
                                        </p:attrNameLst>
                                      </p:cBhvr>
                                      <p:rCtr x="1146" y="-9236"/>
                                    </p:animMotion>
                                  </p:childTnLst>
                                </p:cTn>
                              </p:par>
                              <p:par>
                                <p:cTn id="45" presetID="10" presetClass="entr" presetSubtype="0" fill="hold" grpId="0" nodeType="withEffect">
                                  <p:stCondLst>
                                    <p:cond delay="5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50"/>
                                  </p:stCondLst>
                                  <p:childTnLst>
                                    <p:animMotion origin="layout" path="M 2.91667E-6 1.48148E-6 L 2.91667E-6 0.12754 " pathEditMode="relative" rAng="0" ptsTypes="AA">
                                      <p:cBhvr>
                                        <p:cTn id="49" dur="500" spd="-100000" fill="hold"/>
                                        <p:tgtEl>
                                          <p:spTgt spid="11"/>
                                        </p:tgtEl>
                                        <p:attrNameLst>
                                          <p:attrName>ppt_x</p:attrName>
                                          <p:attrName>ppt_y</p:attrName>
                                        </p:attrNameLst>
                                      </p:cBhvr>
                                      <p:rCtr x="0" y="6366"/>
                                    </p:animMotion>
                                  </p:childTnLst>
                                </p:cTn>
                              </p:par>
                              <p:par>
                                <p:cTn id="50" presetID="10" presetClass="entr" presetSubtype="0"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par>
                                <p:cTn id="53" presetID="42" presetClass="path" presetSubtype="0" decel="100000" fill="hold" grpId="1" nodeType="withEffect">
                                  <p:stCondLst>
                                    <p:cond delay="0"/>
                                  </p:stCondLst>
                                  <p:childTnLst>
                                    <p:animMotion origin="layout" path="M -1.25E-6 -7.40741E-7 L -1.25E-6 0.12755 " pathEditMode="relative" rAng="0" ptsTypes="AA">
                                      <p:cBhvr>
                                        <p:cTn id="54" dur="500" spd="-100000" fill="hold"/>
                                        <p:tgtEl>
                                          <p:spTgt spid="9"/>
                                        </p:tgtEl>
                                        <p:attrNameLst>
                                          <p:attrName>ppt_x</p:attrName>
                                          <p:attrName>ppt_y</p:attrName>
                                        </p:attrNameLst>
                                      </p:cBhvr>
                                      <p:rCtr x="0" y="6366"/>
                                    </p:animMotion>
                                  </p:childTnLst>
                                </p:cTn>
                              </p:par>
                              <p:par>
                                <p:cTn id="55" presetID="10" presetClass="entr" presetSubtype="0" fill="hold" nodeType="withEffect">
                                  <p:stCondLst>
                                    <p:cond delay="35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45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nodeType="withEffect">
                                  <p:stCondLst>
                                    <p:cond delay="55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par>
                                <p:cTn id="64" presetID="10" presetClass="entr" presetSubtype="0" fill="hold" nodeType="withEffect">
                                  <p:stCondLst>
                                    <p:cond delay="650"/>
                                  </p:stCondLst>
                                  <p:childTnLst>
                                    <p:set>
                                      <p:cBhvr>
                                        <p:cTn id="65" dur="1" fill="hold">
                                          <p:stCondLst>
                                            <p:cond delay="0"/>
                                          </p:stCondLst>
                                        </p:cTn>
                                        <p:tgtEl>
                                          <p:spTgt spid="43"/>
                                        </p:tgtEl>
                                        <p:attrNameLst>
                                          <p:attrName>style.visibility</p:attrName>
                                        </p:attrNameLst>
                                      </p:cBhvr>
                                      <p:to>
                                        <p:strVal val="visible"/>
                                      </p:to>
                                    </p:set>
                                    <p:animEffect transition="in" filter="fade">
                                      <p:cBhvr>
                                        <p:cTn id="66" dur="500"/>
                                        <p:tgtEl>
                                          <p:spTgt spid="43"/>
                                        </p:tgtEl>
                                      </p:cBhvr>
                                    </p:animEffect>
                                  </p:childTnLst>
                                </p:cTn>
                              </p:par>
                              <p:par>
                                <p:cTn id="67" presetID="10" presetClass="entr" presetSubtype="0" fill="hold" nodeType="withEffect">
                                  <p:stCondLst>
                                    <p:cond delay="75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10" presetClass="entr" presetSubtype="0" fill="hold" nodeType="withEffect">
                                  <p:stCondLst>
                                    <p:cond delay="85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10" presetClass="entr" presetSubtype="0" fill="hold" nodeType="withEffect">
                                  <p:stCondLst>
                                    <p:cond delay="95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500"/>
                                        <p:tgtEl>
                                          <p:spTgt spid="3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0"/>
                                        </p:tgtEl>
                                        <p:attrNameLst>
                                          <p:attrName>style.visibility</p:attrName>
                                        </p:attrNameLst>
                                      </p:cBhvr>
                                      <p:to>
                                        <p:strVal val="visible"/>
                                      </p:to>
                                    </p:set>
                                    <p:animEffect transition="in" filter="fade">
                                      <p:cBhvr>
                                        <p:cTn id="78" dur="500"/>
                                        <p:tgtEl>
                                          <p:spTgt spid="10"/>
                                        </p:tgtEl>
                                      </p:cBhvr>
                                    </p:animEffect>
                                  </p:childTnLst>
                                </p:cTn>
                              </p:par>
                              <p:par>
                                <p:cTn id="79" presetID="42" presetClass="path" presetSubtype="0" decel="100000" fill="hold" grpId="1" nodeType="withEffect">
                                  <p:stCondLst>
                                    <p:cond delay="0"/>
                                  </p:stCondLst>
                                  <p:childTnLst>
                                    <p:animMotion origin="layout" path="M 0 2.22222E-6 L 0 0.12754 " pathEditMode="relative" rAng="0" ptsTypes="AA">
                                      <p:cBhvr>
                                        <p:cTn id="80" dur="500" spd="-100000" fill="hold"/>
                                        <p:tgtEl>
                                          <p:spTgt spid="10"/>
                                        </p:tgtEl>
                                        <p:attrNameLst>
                                          <p:attrName>ppt_x</p:attrName>
                                          <p:attrName>ppt_y</p:attrName>
                                        </p:attrNameLst>
                                      </p:cBhvr>
                                      <p:rCtr x="0" y="63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9" grpId="0" animBg="1"/>
      <p:bldP spid="9" grpId="1" animBg="1"/>
      <p:bldP spid="10" grpId="0"/>
      <p:bldP spid="10"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Box 108">
            <a:extLst>
              <a:ext uri="{FF2B5EF4-FFF2-40B4-BE49-F238E27FC236}">
                <a16:creationId xmlns:a16="http://schemas.microsoft.com/office/drawing/2014/main" id="{A983B553-B6C3-4907-AEEB-83409A62B21F}"/>
              </a:ext>
            </a:extLst>
          </p:cNvPr>
          <p:cNvSpPr txBox="1"/>
          <p:nvPr/>
        </p:nvSpPr>
        <p:spPr>
          <a:xfrm>
            <a:off x="1291533" y="856390"/>
            <a:ext cx="9804386" cy="553998"/>
          </a:xfrm>
          <a:prstGeom prst="rect">
            <a:avLst/>
          </a:prstGeom>
          <a:noFill/>
        </p:spPr>
        <p:txBody>
          <a:bodyPr wrap="square" lIns="0" tIns="0" rIns="0" bIns="0" rtlCol="0">
            <a:spAutoFit/>
          </a:bodyPr>
          <a:lstStyle/>
          <a:p>
            <a:pPr algn="ctr" defTabSz="914049">
              <a:defRPr/>
            </a:pPr>
            <a:r>
              <a:rPr lang="en-US" sz="3600" spc="-49" dirty="0">
                <a:ln w="3175">
                  <a:noFill/>
                </a:ln>
                <a:latin typeface="Segoe UI Semibold"/>
                <a:cs typeface="Segoe UI"/>
              </a:rPr>
              <a:t>Azure Migration Program (AMP)</a:t>
            </a:r>
            <a:endParaRPr lang="en-IN" sz="3600" dirty="0">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670314" y="1499595"/>
            <a:ext cx="8894551" cy="307648"/>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32384"/>
            <a:r>
              <a:rPr lang="en-US">
                <a:gradFill>
                  <a:gsLst>
                    <a:gs pos="1250">
                      <a:srgbClr val="FFFFFF"/>
                    </a:gs>
                    <a:gs pos="100000">
                      <a:srgbClr val="FFFFFF"/>
                    </a:gs>
                  </a:gsLst>
                  <a:lin ang="5400000" scaled="0"/>
                </a:gradFill>
                <a:latin typeface="Segoe UI"/>
              </a:rPr>
              <a:t>Available to all Azure customers, scaled through specialized migration partners</a:t>
            </a:r>
          </a:p>
        </p:txBody>
      </p:sp>
      <p:sp>
        <p:nvSpPr>
          <p:cNvPr id="306" name="Rectangle 305">
            <a:extLst>
              <a:ext uri="{FF2B5EF4-FFF2-40B4-BE49-F238E27FC236}">
                <a16:creationId xmlns:a16="http://schemas.microsoft.com/office/drawing/2014/main" id="{A4EBCF9E-D89E-4746-A7EA-1B9E4ED7A48F}"/>
              </a:ext>
            </a:extLst>
          </p:cNvPr>
          <p:cNvSpPr/>
          <p:nvPr/>
        </p:nvSpPr>
        <p:spPr bwMode="auto">
          <a:xfrm>
            <a:off x="582950" y="2188937"/>
            <a:ext cx="11026100" cy="2625586"/>
          </a:xfrm>
          <a:prstGeom prst="rect">
            <a:avLst/>
          </a:prstGeom>
          <a:solidFill>
            <a:schemeClr val="tx1">
              <a:alpha val="10000"/>
            </a:schemeClr>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pPr>
            <a:endParaRPr lang="en-US" sz="196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extLst>
              <a:ext uri="{FF2B5EF4-FFF2-40B4-BE49-F238E27FC236}">
                <a16:creationId xmlns:a16="http://schemas.microsoft.com/office/drawing/2014/main" id="{DF3EDCA6-151B-4001-81D0-856E31D305F7}"/>
              </a:ext>
            </a:extLst>
          </p:cNvPr>
          <p:cNvSpPr/>
          <p:nvPr/>
        </p:nvSpPr>
        <p:spPr>
          <a:xfrm>
            <a:off x="3299096" y="5879946"/>
            <a:ext cx="5593808" cy="374793"/>
          </a:xfrm>
          <a:prstGeom prst="rect">
            <a:avLst/>
          </a:prstGeom>
        </p:spPr>
        <p:txBody>
          <a:bodyPr wrap="square" anchor="ctr">
            <a:spAutoFit/>
          </a:bodyPr>
          <a:lstStyle/>
          <a:p>
            <a:pPr algn="ctr" defTabSz="932239">
              <a:defRPr/>
            </a:pPr>
            <a:r>
              <a:rPr lang="en-US" sz="1800" dirty="0">
                <a:latin typeface="Segoe UI Semibold"/>
              </a:rPr>
              <a:t>Learn more  </a:t>
            </a:r>
            <a:r>
              <a:rPr lang="en-US" sz="1800" dirty="0">
                <a:gradFill>
                  <a:gsLst>
                    <a:gs pos="1250">
                      <a:srgbClr val="000000">
                        <a:lumMod val="75000"/>
                        <a:lumOff val="25000"/>
                      </a:srgbClr>
                    </a:gs>
                    <a:gs pos="100000">
                      <a:srgbClr val="000000">
                        <a:lumMod val="75000"/>
                        <a:lumOff val="25000"/>
                      </a:srgbClr>
                    </a:gs>
                  </a:gsLst>
                  <a:lin ang="5400000" scaled="0"/>
                </a:gradFill>
                <a:latin typeface="Segoe UI Semibold"/>
              </a:rPr>
              <a:t>|</a:t>
            </a:r>
            <a:r>
              <a:rPr lang="en-US" sz="1800" dirty="0">
                <a:gradFill>
                  <a:gsLst>
                    <a:gs pos="1250">
                      <a:srgbClr val="FFFFFF"/>
                    </a:gs>
                    <a:gs pos="100000">
                      <a:srgbClr val="FFFFFF"/>
                    </a:gs>
                  </a:gsLst>
                  <a:lin ang="5400000" scaled="0"/>
                </a:gradFill>
                <a:latin typeface="Segoe UI Semibold"/>
              </a:rPr>
              <a:t>  </a:t>
            </a:r>
            <a:r>
              <a:rPr lang="en-US" sz="1800" dirty="0">
                <a:gradFill>
                  <a:gsLst>
                    <a:gs pos="0">
                      <a:srgbClr val="50E6FF"/>
                    </a:gs>
                    <a:gs pos="100000">
                      <a:srgbClr val="50E6FF"/>
                    </a:gs>
                  </a:gsLst>
                  <a:lin ang="5400000" scaled="0"/>
                </a:gradFill>
                <a:latin typeface="Segoe UI Semibold"/>
              </a:rPr>
              <a:t>Azure.com/AMP</a:t>
            </a:r>
          </a:p>
        </p:txBody>
      </p:sp>
      <p:sp>
        <p:nvSpPr>
          <p:cNvPr id="267" name="Rectangle 266">
            <a:extLst>
              <a:ext uri="{FF2B5EF4-FFF2-40B4-BE49-F238E27FC236}">
                <a16:creationId xmlns:a16="http://schemas.microsoft.com/office/drawing/2014/main" id="{D46A3950-BADD-45BD-B0CA-5E81AED1CA18}"/>
              </a:ext>
            </a:extLst>
          </p:cNvPr>
          <p:cNvSpPr/>
          <p:nvPr/>
        </p:nvSpPr>
        <p:spPr bwMode="auto">
          <a:xfrm>
            <a:off x="1519750" y="5021301"/>
            <a:ext cx="9152501" cy="5495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28" tIns="146263" rIns="182828" bIns="146263" numCol="1" spcCol="0" rtlCol="0" fromWordArt="0" anchor="t" anchorCtr="0" forceAA="0" compatLnSpc="1">
            <a:prstTxWarp prst="textNoShape">
              <a:avLst/>
            </a:prstTxWarp>
            <a:spAutoFit/>
          </a:bodyPr>
          <a:lstStyle/>
          <a:p>
            <a:pPr algn="ctr" defTabSz="932114" fontAlgn="base">
              <a:lnSpc>
                <a:spcPct val="90000"/>
              </a:lnSpc>
              <a:spcBef>
                <a:spcPct val="0"/>
              </a:spcBef>
              <a:spcAft>
                <a:spcPct val="0"/>
              </a:spcAft>
              <a:defRPr/>
            </a:pPr>
            <a:r>
              <a:rPr lang="en-US" sz="1800" dirty="0">
                <a:solidFill>
                  <a:schemeClr val="tx1"/>
                </a:solidFill>
                <a:latin typeface="Segoe UI Semibold"/>
                <a:cs typeface="Segoe UI" panose="020B0502040204020203" pitchFamily="34" charset="0"/>
              </a:rPr>
              <a:t>Reduce cost and risk  |   Accelerate migration velocity  |  Deliver customer success  </a:t>
            </a:r>
          </a:p>
        </p:txBody>
      </p:sp>
      <p:grpSp>
        <p:nvGrpSpPr>
          <p:cNvPr id="14" name="Group 13">
            <a:extLst>
              <a:ext uri="{FF2B5EF4-FFF2-40B4-BE49-F238E27FC236}">
                <a16:creationId xmlns:a16="http://schemas.microsoft.com/office/drawing/2014/main" id="{001ED1CD-CA20-4D06-9B83-2769F26E30E0}"/>
              </a:ext>
            </a:extLst>
          </p:cNvPr>
          <p:cNvGrpSpPr/>
          <p:nvPr/>
        </p:nvGrpSpPr>
        <p:grpSpPr>
          <a:xfrm>
            <a:off x="1931269" y="2507007"/>
            <a:ext cx="8335854" cy="341393"/>
            <a:chOff x="1874660" y="2453085"/>
            <a:chExt cx="8337037" cy="341442"/>
          </a:xfrm>
        </p:grpSpPr>
        <p:grpSp>
          <p:nvGrpSpPr>
            <p:cNvPr id="11" name="Group 10">
              <a:extLst>
                <a:ext uri="{FF2B5EF4-FFF2-40B4-BE49-F238E27FC236}">
                  <a16:creationId xmlns:a16="http://schemas.microsoft.com/office/drawing/2014/main" id="{F392076C-F684-496A-9E26-CC6ACF1132B7}"/>
                </a:ext>
              </a:extLst>
            </p:cNvPr>
            <p:cNvGrpSpPr/>
            <p:nvPr/>
          </p:nvGrpSpPr>
          <p:grpSpPr>
            <a:xfrm>
              <a:off x="4814763" y="2453085"/>
              <a:ext cx="2390999" cy="341442"/>
              <a:chOff x="1847241" y="3169070"/>
              <a:chExt cx="2390999" cy="341442"/>
            </a:xfrm>
          </p:grpSpPr>
          <p:sp>
            <p:nvSpPr>
              <p:cNvPr id="112" name="Rectangle 111">
                <a:extLst>
                  <a:ext uri="{FF2B5EF4-FFF2-40B4-BE49-F238E27FC236}">
                    <a16:creationId xmlns:a16="http://schemas.microsoft.com/office/drawing/2014/main" id="{DF65DC3B-6971-46FD-8ED4-552A960BAABD}"/>
                  </a:ext>
                </a:extLst>
              </p:cNvPr>
              <p:cNvSpPr/>
              <p:nvPr/>
            </p:nvSpPr>
            <p:spPr bwMode="auto">
              <a:xfrm>
                <a:off x="2317826" y="3231253"/>
                <a:ext cx="1920414" cy="21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Offers and incentives</a:t>
                </a:r>
              </a:p>
            </p:txBody>
          </p:sp>
          <p:grpSp>
            <p:nvGrpSpPr>
              <p:cNvPr id="237" name="Group 236">
                <a:extLst>
                  <a:ext uri="{FF2B5EF4-FFF2-40B4-BE49-F238E27FC236}">
                    <a16:creationId xmlns:a16="http://schemas.microsoft.com/office/drawing/2014/main" id="{9ECA2390-5321-4332-9D3D-6984CF24051B}"/>
                  </a:ext>
                </a:extLst>
              </p:cNvPr>
              <p:cNvGrpSpPr/>
              <p:nvPr/>
            </p:nvGrpSpPr>
            <p:grpSpPr>
              <a:xfrm>
                <a:off x="1847241" y="3169070"/>
                <a:ext cx="338760" cy="341442"/>
                <a:chOff x="9021415" y="2468324"/>
                <a:chExt cx="836453" cy="831199"/>
              </a:xfrm>
            </p:grpSpPr>
            <p:grpSp>
              <p:nvGrpSpPr>
                <p:cNvPr id="238" name="Group 237">
                  <a:extLst>
                    <a:ext uri="{FF2B5EF4-FFF2-40B4-BE49-F238E27FC236}">
                      <a16:creationId xmlns:a16="http://schemas.microsoft.com/office/drawing/2014/main" id="{D713A79D-D637-418D-BF18-BB250E8FFA5F}"/>
                    </a:ext>
                  </a:extLst>
                </p:cNvPr>
                <p:cNvGrpSpPr/>
                <p:nvPr/>
              </p:nvGrpSpPr>
              <p:grpSpPr>
                <a:xfrm flipH="1">
                  <a:off x="9021415" y="2468324"/>
                  <a:ext cx="836453" cy="831199"/>
                  <a:chOff x="9021415" y="2468324"/>
                  <a:chExt cx="836453" cy="831199"/>
                </a:xfrm>
              </p:grpSpPr>
              <p:sp>
                <p:nvSpPr>
                  <p:cNvPr id="268" name="Freeform: Shape 267">
                    <a:extLst>
                      <a:ext uri="{FF2B5EF4-FFF2-40B4-BE49-F238E27FC236}">
                        <a16:creationId xmlns:a16="http://schemas.microsoft.com/office/drawing/2014/main" id="{51C31CCD-FFA4-4F29-8EFD-3D7F7436AB0E}"/>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defTabSz="914016">
                      <a:defRPr/>
                    </a:pPr>
                    <a:endParaRPr lang="en-US" sz="1600">
                      <a:solidFill>
                        <a:srgbClr val="FFFFFF"/>
                      </a:solidFill>
                      <a:latin typeface="Segoe UI"/>
                    </a:endParaRPr>
                  </a:p>
                </p:txBody>
              </p:sp>
              <p:sp>
                <p:nvSpPr>
                  <p:cNvPr id="269" name="Freeform: Shape 268">
                    <a:extLst>
                      <a:ext uri="{FF2B5EF4-FFF2-40B4-BE49-F238E27FC236}">
                        <a16:creationId xmlns:a16="http://schemas.microsoft.com/office/drawing/2014/main" id="{8705E67B-EF34-4F51-9D8D-17B4C60340FA}"/>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defTabSz="914016">
                      <a:defRPr/>
                    </a:pPr>
                    <a:endParaRPr lang="en-US" sz="1600">
                      <a:solidFill>
                        <a:srgbClr val="FFFFFF"/>
                      </a:solidFill>
                      <a:latin typeface="Segoe UI"/>
                    </a:endParaRPr>
                  </a:p>
                </p:txBody>
              </p:sp>
              <p:sp>
                <p:nvSpPr>
                  <p:cNvPr id="277" name="Freeform: Shape 276">
                    <a:extLst>
                      <a:ext uri="{FF2B5EF4-FFF2-40B4-BE49-F238E27FC236}">
                        <a16:creationId xmlns:a16="http://schemas.microsoft.com/office/drawing/2014/main" id="{959C04C7-99B5-4F26-8E36-B99B360C8D57}"/>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defTabSz="914016">
                      <a:defRPr/>
                    </a:pPr>
                    <a:endParaRPr lang="en-US" sz="1600">
                      <a:solidFill>
                        <a:srgbClr val="FFFFFF"/>
                      </a:solidFill>
                      <a:latin typeface="Segoe UI"/>
                    </a:endParaRPr>
                  </a:p>
                </p:txBody>
              </p:sp>
              <p:sp>
                <p:nvSpPr>
                  <p:cNvPr id="278" name="Freeform: Shape 277">
                    <a:extLst>
                      <a:ext uri="{FF2B5EF4-FFF2-40B4-BE49-F238E27FC236}">
                        <a16:creationId xmlns:a16="http://schemas.microsoft.com/office/drawing/2014/main" id="{001F90A8-E0EB-4F21-9B49-D80C721C4C6E}"/>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defTabSz="914016">
                      <a:defRPr/>
                    </a:pPr>
                    <a:endParaRPr lang="en-US" sz="1600">
                      <a:solidFill>
                        <a:srgbClr val="FFFFFF"/>
                      </a:solidFill>
                      <a:latin typeface="Segoe UI"/>
                    </a:endParaRPr>
                  </a:p>
                </p:txBody>
              </p:sp>
            </p:grpSp>
            <p:sp>
              <p:nvSpPr>
                <p:cNvPr id="255" name="Freeform: Shape 254">
                  <a:extLst>
                    <a:ext uri="{FF2B5EF4-FFF2-40B4-BE49-F238E27FC236}">
                      <a16:creationId xmlns:a16="http://schemas.microsoft.com/office/drawing/2014/main" id="{0EAB4989-57CB-4713-91B1-152C9FD0F28C}"/>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defTabSz="914016">
                    <a:defRPr/>
                  </a:pPr>
                  <a:endParaRPr lang="en-US" sz="1600">
                    <a:solidFill>
                      <a:srgbClr val="FFFFFF"/>
                    </a:solidFill>
                    <a:latin typeface="Segoe UI"/>
                  </a:endParaRPr>
                </a:p>
              </p:txBody>
            </p:sp>
          </p:grpSp>
        </p:grpSp>
        <p:grpSp>
          <p:nvGrpSpPr>
            <p:cNvPr id="12" name="Group 11">
              <a:extLst>
                <a:ext uri="{FF2B5EF4-FFF2-40B4-BE49-F238E27FC236}">
                  <a16:creationId xmlns:a16="http://schemas.microsoft.com/office/drawing/2014/main" id="{3F6DE1A3-6B3F-4DB6-8543-78558F856D8C}"/>
                </a:ext>
              </a:extLst>
            </p:cNvPr>
            <p:cNvGrpSpPr/>
            <p:nvPr/>
          </p:nvGrpSpPr>
          <p:grpSpPr>
            <a:xfrm>
              <a:off x="1874660" y="2491047"/>
              <a:ext cx="2498508" cy="265519"/>
              <a:chOff x="1874660" y="2576608"/>
              <a:chExt cx="2498508" cy="265519"/>
            </a:xfrm>
          </p:grpSpPr>
          <p:grpSp>
            <p:nvGrpSpPr>
              <p:cNvPr id="138" name="modular 1" descr="modular">
                <a:extLst>
                  <a:ext uri="{FF2B5EF4-FFF2-40B4-BE49-F238E27FC236}">
                    <a16:creationId xmlns:a16="http://schemas.microsoft.com/office/drawing/2014/main" id="{FCC30580-6B15-40D2-8F85-34D8993BC724}"/>
                  </a:ext>
                </a:extLst>
              </p:cNvPr>
              <p:cNvGrpSpPr/>
              <p:nvPr/>
            </p:nvGrpSpPr>
            <p:grpSpPr>
              <a:xfrm>
                <a:off x="1874660" y="2576608"/>
                <a:ext cx="283923" cy="265519"/>
                <a:chOff x="3557434" y="2181241"/>
                <a:chExt cx="406193" cy="406193"/>
              </a:xfrm>
            </p:grpSpPr>
            <p:sp>
              <p:nvSpPr>
                <p:cNvPr id="139" name="Rectangle 458">
                  <a:extLst>
                    <a:ext uri="{FF2B5EF4-FFF2-40B4-BE49-F238E27FC236}">
                      <a16:creationId xmlns:a16="http://schemas.microsoft.com/office/drawing/2014/main" id="{5F84E1AF-0869-4512-9AD4-DF9CC5220C5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1" name="Rectangle 459">
                  <a:extLst>
                    <a:ext uri="{FF2B5EF4-FFF2-40B4-BE49-F238E27FC236}">
                      <a16:creationId xmlns:a16="http://schemas.microsoft.com/office/drawing/2014/main" id="{5A487DD8-63D0-4C5A-A762-675EB107F9BF}"/>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2" name="Rectangle 460">
                  <a:extLst>
                    <a:ext uri="{FF2B5EF4-FFF2-40B4-BE49-F238E27FC236}">
                      <a16:creationId xmlns:a16="http://schemas.microsoft.com/office/drawing/2014/main" id="{F71DA5DB-00F7-4B90-AB0E-227C42E3D4A0}"/>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3" name="Rectangle 461">
                  <a:extLst>
                    <a:ext uri="{FF2B5EF4-FFF2-40B4-BE49-F238E27FC236}">
                      <a16:creationId xmlns:a16="http://schemas.microsoft.com/office/drawing/2014/main" id="{2C09DC8E-293A-4639-B41D-42292243CBEB}"/>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4" name="Rectangle 462">
                  <a:extLst>
                    <a:ext uri="{FF2B5EF4-FFF2-40B4-BE49-F238E27FC236}">
                      <a16:creationId xmlns:a16="http://schemas.microsoft.com/office/drawing/2014/main" id="{6D51F9B7-5D6E-4A64-9A84-A05A074C86F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5" name="Rectangle 463">
                  <a:extLst>
                    <a:ext uri="{FF2B5EF4-FFF2-40B4-BE49-F238E27FC236}">
                      <a16:creationId xmlns:a16="http://schemas.microsoft.com/office/drawing/2014/main" id="{0373F552-F85B-4848-B3A3-CF5B763EE9DA}"/>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6" name="Rectangle 464">
                  <a:extLst>
                    <a:ext uri="{FF2B5EF4-FFF2-40B4-BE49-F238E27FC236}">
                      <a16:creationId xmlns:a16="http://schemas.microsoft.com/office/drawing/2014/main" id="{2C3F339E-62DB-48E5-98B0-1D32CFAE9999}"/>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sp>
              <p:nvSpPr>
                <p:cNvPr id="177" name="Rectangle 465">
                  <a:extLst>
                    <a:ext uri="{FF2B5EF4-FFF2-40B4-BE49-F238E27FC236}">
                      <a16:creationId xmlns:a16="http://schemas.microsoft.com/office/drawing/2014/main" id="{03B4E5B8-068D-4885-BE5A-64A4F54E0F15}"/>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defRPr/>
                  </a:pPr>
                  <a:endParaRPr lang="en-US" sz="1600">
                    <a:solidFill>
                      <a:srgbClr val="505050"/>
                    </a:solidFill>
                    <a:latin typeface="Segoe UI"/>
                  </a:endParaRPr>
                </a:p>
              </p:txBody>
            </p:sp>
          </p:grpSp>
          <p:sp>
            <p:nvSpPr>
              <p:cNvPr id="2" name="Rectangle 1">
                <a:extLst>
                  <a:ext uri="{FF2B5EF4-FFF2-40B4-BE49-F238E27FC236}">
                    <a16:creationId xmlns:a16="http://schemas.microsoft.com/office/drawing/2014/main" id="{A2D35117-0BD4-4FFF-AB7E-A82718CD961A}"/>
                  </a:ext>
                </a:extLst>
              </p:cNvPr>
              <p:cNvSpPr/>
              <p:nvPr/>
            </p:nvSpPr>
            <p:spPr bwMode="auto">
              <a:xfrm>
                <a:off x="2317826" y="2600827"/>
                <a:ext cx="2055342" cy="21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Best practice guidance</a:t>
                </a:r>
              </a:p>
            </p:txBody>
          </p:sp>
        </p:grpSp>
        <p:grpSp>
          <p:nvGrpSpPr>
            <p:cNvPr id="9" name="Group 8">
              <a:extLst>
                <a:ext uri="{FF2B5EF4-FFF2-40B4-BE49-F238E27FC236}">
                  <a16:creationId xmlns:a16="http://schemas.microsoft.com/office/drawing/2014/main" id="{775721D5-AFDE-4BD0-86DB-9CAADA948714}"/>
                </a:ext>
              </a:extLst>
            </p:cNvPr>
            <p:cNvGrpSpPr/>
            <p:nvPr/>
          </p:nvGrpSpPr>
          <p:grpSpPr>
            <a:xfrm>
              <a:off x="7649965" y="2483176"/>
              <a:ext cx="2561732" cy="281260"/>
              <a:chOff x="4883323" y="2568737"/>
              <a:chExt cx="2561732" cy="281260"/>
            </a:xfrm>
          </p:grpSpPr>
          <p:grpSp>
            <p:nvGrpSpPr>
              <p:cNvPr id="178" name="evolve" descr="evolve">
                <a:extLst>
                  <a:ext uri="{FF2B5EF4-FFF2-40B4-BE49-F238E27FC236}">
                    <a16:creationId xmlns:a16="http://schemas.microsoft.com/office/drawing/2014/main" id="{8F71CC57-38DD-432F-A5E1-DD23E343C5DC}"/>
                  </a:ext>
                </a:extLst>
              </p:cNvPr>
              <p:cNvGrpSpPr/>
              <p:nvPr/>
            </p:nvGrpSpPr>
            <p:grpSpPr>
              <a:xfrm>
                <a:off x="4883323" y="2568737"/>
                <a:ext cx="298246" cy="281260"/>
                <a:chOff x="748620" y="3040242"/>
                <a:chExt cx="415510" cy="419004"/>
              </a:xfrm>
            </p:grpSpPr>
            <p:sp>
              <p:nvSpPr>
                <p:cNvPr id="179" name="Freeform: Shape 178">
                  <a:extLst>
                    <a:ext uri="{FF2B5EF4-FFF2-40B4-BE49-F238E27FC236}">
                      <a16:creationId xmlns:a16="http://schemas.microsoft.com/office/drawing/2014/main" id="{2BFF0FBA-4196-43B4-ABB7-42F0ECC1C8FC}"/>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defTabSz="914016">
                    <a:defRPr/>
                  </a:pPr>
                  <a:endParaRPr lang="en-US" sz="1600">
                    <a:solidFill>
                      <a:srgbClr val="FFFFFF"/>
                    </a:solidFill>
                    <a:latin typeface="Segoe UI"/>
                  </a:endParaRPr>
                </a:p>
              </p:txBody>
            </p:sp>
            <p:sp>
              <p:nvSpPr>
                <p:cNvPr id="180" name="Freeform: Shape 179">
                  <a:extLst>
                    <a:ext uri="{FF2B5EF4-FFF2-40B4-BE49-F238E27FC236}">
                      <a16:creationId xmlns:a16="http://schemas.microsoft.com/office/drawing/2014/main" id="{0BC40D00-A526-45CE-B7F8-4D9835811B1E}"/>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defTabSz="914016">
                    <a:defRPr/>
                  </a:pPr>
                  <a:endParaRPr lang="en-US" sz="1600">
                    <a:solidFill>
                      <a:srgbClr val="FFFFFF"/>
                    </a:solidFill>
                    <a:latin typeface="Segoe UI"/>
                  </a:endParaRPr>
                </a:p>
              </p:txBody>
            </p:sp>
            <p:sp>
              <p:nvSpPr>
                <p:cNvPr id="181" name="Freeform: Shape 180">
                  <a:extLst>
                    <a:ext uri="{FF2B5EF4-FFF2-40B4-BE49-F238E27FC236}">
                      <a16:creationId xmlns:a16="http://schemas.microsoft.com/office/drawing/2014/main" id="{2F377B21-18B3-4B51-936F-0C8D3FFCA6D4}"/>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defTabSz="914016">
                    <a:defRPr/>
                  </a:pPr>
                  <a:endParaRPr lang="en-US" sz="1600">
                    <a:solidFill>
                      <a:srgbClr val="FFFFFF"/>
                    </a:solidFill>
                    <a:latin typeface="Segoe UI"/>
                  </a:endParaRPr>
                </a:p>
              </p:txBody>
            </p:sp>
          </p:grpSp>
          <p:sp>
            <p:nvSpPr>
              <p:cNvPr id="113" name="Rectangle 112">
                <a:extLst>
                  <a:ext uri="{FF2B5EF4-FFF2-40B4-BE49-F238E27FC236}">
                    <a16:creationId xmlns:a16="http://schemas.microsoft.com/office/drawing/2014/main" id="{AD94372A-0725-4E77-9CCD-4E6545C80CCB}"/>
                  </a:ext>
                </a:extLst>
              </p:cNvPr>
              <p:cNvSpPr/>
              <p:nvPr/>
            </p:nvSpPr>
            <p:spPr bwMode="auto">
              <a:xfrm>
                <a:off x="5394844" y="2600829"/>
                <a:ext cx="2050211" cy="21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Technical skill building</a:t>
                </a:r>
              </a:p>
            </p:txBody>
          </p:sp>
        </p:grpSp>
      </p:grpSp>
      <p:grpSp>
        <p:nvGrpSpPr>
          <p:cNvPr id="3" name="Group 2">
            <a:extLst>
              <a:ext uri="{FF2B5EF4-FFF2-40B4-BE49-F238E27FC236}">
                <a16:creationId xmlns:a16="http://schemas.microsoft.com/office/drawing/2014/main" id="{04F08E9D-459C-4C1C-83C4-C8D29146E030}"/>
              </a:ext>
            </a:extLst>
          </p:cNvPr>
          <p:cNvGrpSpPr/>
          <p:nvPr/>
        </p:nvGrpSpPr>
        <p:grpSpPr>
          <a:xfrm>
            <a:off x="3660766" y="3147402"/>
            <a:ext cx="2143551" cy="434093"/>
            <a:chOff x="4884488" y="3122715"/>
            <a:chExt cx="2143856" cy="434154"/>
          </a:xfrm>
        </p:grpSpPr>
        <p:grpSp>
          <p:nvGrpSpPr>
            <p:cNvPr id="182" name="dev testing" descr="dev testing">
              <a:extLst>
                <a:ext uri="{FF2B5EF4-FFF2-40B4-BE49-F238E27FC236}">
                  <a16:creationId xmlns:a16="http://schemas.microsoft.com/office/drawing/2014/main" id="{9E820B6A-BE81-4D0F-BD99-6B4E7C112253}"/>
                </a:ext>
              </a:extLst>
            </p:cNvPr>
            <p:cNvGrpSpPr>
              <a:grpSpLocks noChangeAspect="1"/>
            </p:cNvGrpSpPr>
            <p:nvPr/>
          </p:nvGrpSpPr>
          <p:grpSpPr bwMode="auto">
            <a:xfrm>
              <a:off x="4884488" y="3215683"/>
              <a:ext cx="295917" cy="248216"/>
              <a:chOff x="448" y="808"/>
              <a:chExt cx="262" cy="235"/>
            </a:xfrm>
          </p:grpSpPr>
          <p:sp>
            <p:nvSpPr>
              <p:cNvPr id="183" name="AutoShape 3">
                <a:extLst>
                  <a:ext uri="{FF2B5EF4-FFF2-40B4-BE49-F238E27FC236}">
                    <a16:creationId xmlns:a16="http://schemas.microsoft.com/office/drawing/2014/main" id="{5E47226C-2F54-4EF4-93CD-1531BDC3EE18}"/>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4" name="Rectangle 5">
                <a:extLst>
                  <a:ext uri="{FF2B5EF4-FFF2-40B4-BE49-F238E27FC236}">
                    <a16:creationId xmlns:a16="http://schemas.microsoft.com/office/drawing/2014/main" id="{71AF44DF-7319-4638-840B-BC19DE0D542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5" name="Rectangle 6">
                <a:extLst>
                  <a:ext uri="{FF2B5EF4-FFF2-40B4-BE49-F238E27FC236}">
                    <a16:creationId xmlns:a16="http://schemas.microsoft.com/office/drawing/2014/main" id="{EB70FF0C-B287-48DE-AB43-F95B9A9CCC2E}"/>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6" name="Rectangle 7">
                <a:extLst>
                  <a:ext uri="{FF2B5EF4-FFF2-40B4-BE49-F238E27FC236}">
                    <a16:creationId xmlns:a16="http://schemas.microsoft.com/office/drawing/2014/main" id="{467C47A8-5816-4541-9946-D92B098B1B95}"/>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7" name="Rectangle 8">
                <a:extLst>
                  <a:ext uri="{FF2B5EF4-FFF2-40B4-BE49-F238E27FC236}">
                    <a16:creationId xmlns:a16="http://schemas.microsoft.com/office/drawing/2014/main" id="{3084451B-4F32-4556-B9C2-B75AA0A2D1C3}"/>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8" name="Rectangle 9">
                <a:extLst>
                  <a:ext uri="{FF2B5EF4-FFF2-40B4-BE49-F238E27FC236}">
                    <a16:creationId xmlns:a16="http://schemas.microsoft.com/office/drawing/2014/main" id="{346FB61A-0EF4-45A9-8D00-1943A7A170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89" name="Rectangle 10">
                <a:extLst>
                  <a:ext uri="{FF2B5EF4-FFF2-40B4-BE49-F238E27FC236}">
                    <a16:creationId xmlns:a16="http://schemas.microsoft.com/office/drawing/2014/main" id="{724F38BA-EEFD-472F-BF9A-86B9B0E8FD30}"/>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0" name="Rectangle 11">
                <a:extLst>
                  <a:ext uri="{FF2B5EF4-FFF2-40B4-BE49-F238E27FC236}">
                    <a16:creationId xmlns:a16="http://schemas.microsoft.com/office/drawing/2014/main" id="{FC1C7A03-AE6A-401D-9129-0BB982C92571}"/>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1" name="Rectangle 12">
                <a:extLst>
                  <a:ext uri="{FF2B5EF4-FFF2-40B4-BE49-F238E27FC236}">
                    <a16:creationId xmlns:a16="http://schemas.microsoft.com/office/drawing/2014/main" id="{1B6F6F7F-39CE-47D9-8A42-2F333A14E2F9}"/>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2" name="Rectangle 13">
                <a:extLst>
                  <a:ext uri="{FF2B5EF4-FFF2-40B4-BE49-F238E27FC236}">
                    <a16:creationId xmlns:a16="http://schemas.microsoft.com/office/drawing/2014/main" id="{C554AB85-EAB8-449D-A5DF-9C0CDED93990}"/>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3" name="Rectangle 14">
                <a:extLst>
                  <a:ext uri="{FF2B5EF4-FFF2-40B4-BE49-F238E27FC236}">
                    <a16:creationId xmlns:a16="http://schemas.microsoft.com/office/drawing/2014/main" id="{5B80D8A8-F75C-4974-A72C-19EC2BFA7334}"/>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4" name="Rectangle 15">
                <a:extLst>
                  <a:ext uri="{FF2B5EF4-FFF2-40B4-BE49-F238E27FC236}">
                    <a16:creationId xmlns:a16="http://schemas.microsoft.com/office/drawing/2014/main" id="{A27954E5-BE9F-4A3B-9B5F-C16454594019}"/>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195" name="Rectangle 16">
                <a:extLst>
                  <a:ext uri="{FF2B5EF4-FFF2-40B4-BE49-F238E27FC236}">
                    <a16:creationId xmlns:a16="http://schemas.microsoft.com/office/drawing/2014/main" id="{C0050202-AD36-428F-9D77-9E8A97A43D67}"/>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grpSp>
        <p:sp>
          <p:nvSpPr>
            <p:cNvPr id="117" name="Rectangle 116">
              <a:extLst>
                <a:ext uri="{FF2B5EF4-FFF2-40B4-BE49-F238E27FC236}">
                  <a16:creationId xmlns:a16="http://schemas.microsoft.com/office/drawing/2014/main" id="{B40A8B63-8EF6-4C0B-B422-50CB7B845FE4}"/>
                </a:ext>
              </a:extLst>
            </p:cNvPr>
            <p:cNvSpPr/>
            <p:nvPr/>
          </p:nvSpPr>
          <p:spPr bwMode="auto">
            <a:xfrm>
              <a:off x="5394844" y="3122715"/>
              <a:ext cx="1633500" cy="4341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Infrastructure and</a:t>
              </a:r>
              <a:br>
                <a:rPr lang="en-US" sz="1567" b="1" dirty="0">
                  <a:solidFill>
                    <a:schemeClr val="tx1"/>
                  </a:solidFill>
                  <a:latin typeface="Segoe UI Semibold"/>
                </a:rPr>
              </a:br>
              <a:r>
                <a:rPr lang="en-US" sz="1567" b="1" dirty="0">
                  <a:solidFill>
                    <a:schemeClr val="tx1"/>
                  </a:solidFill>
                  <a:latin typeface="Segoe UI Semibold"/>
                </a:rPr>
                <a:t>data foundations</a:t>
              </a:r>
            </a:p>
          </p:txBody>
        </p:sp>
      </p:grpSp>
      <p:grpSp>
        <p:nvGrpSpPr>
          <p:cNvPr id="10" name="Group 9">
            <a:extLst>
              <a:ext uri="{FF2B5EF4-FFF2-40B4-BE49-F238E27FC236}">
                <a16:creationId xmlns:a16="http://schemas.microsoft.com/office/drawing/2014/main" id="{7D9DE586-8AD7-410F-BFAD-FB202993C8D3}"/>
              </a:ext>
            </a:extLst>
          </p:cNvPr>
          <p:cNvGrpSpPr/>
          <p:nvPr/>
        </p:nvGrpSpPr>
        <p:grpSpPr>
          <a:xfrm>
            <a:off x="6280390" y="3147402"/>
            <a:ext cx="2252691" cy="434093"/>
            <a:chOff x="8044698" y="2492291"/>
            <a:chExt cx="2253010" cy="434154"/>
          </a:xfrm>
        </p:grpSpPr>
        <p:sp>
          <p:nvSpPr>
            <p:cNvPr id="119" name="Rectangle 118">
              <a:extLst>
                <a:ext uri="{FF2B5EF4-FFF2-40B4-BE49-F238E27FC236}">
                  <a16:creationId xmlns:a16="http://schemas.microsoft.com/office/drawing/2014/main" id="{DD9AAA94-1890-4A94-91FF-E4ADE61285FC}"/>
                </a:ext>
              </a:extLst>
            </p:cNvPr>
            <p:cNvSpPr/>
            <p:nvPr/>
          </p:nvSpPr>
          <p:spPr bwMode="auto">
            <a:xfrm>
              <a:off x="8537362" y="2492291"/>
              <a:ext cx="1760346" cy="4341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defRPr/>
              </a:pPr>
              <a:r>
                <a:rPr lang="en-US" sz="1567" b="1" dirty="0">
                  <a:solidFill>
                    <a:schemeClr val="tx1"/>
                  </a:solidFill>
                  <a:latin typeface="Segoe UI Semibold"/>
                </a:rPr>
                <a:t>Migration planning</a:t>
              </a:r>
              <a:br>
                <a:rPr lang="en-US" sz="1567" b="1" dirty="0">
                  <a:solidFill>
                    <a:schemeClr val="tx1"/>
                  </a:solidFill>
                  <a:latin typeface="Segoe UI Semibold"/>
                </a:rPr>
              </a:br>
              <a:r>
                <a:rPr lang="en-US" sz="1567" b="1" dirty="0">
                  <a:solidFill>
                    <a:schemeClr val="tx1"/>
                  </a:solidFill>
                  <a:latin typeface="Segoe UI Semibold"/>
                </a:rPr>
                <a:t>and execution</a:t>
              </a:r>
            </a:p>
          </p:txBody>
        </p:sp>
        <p:grpSp>
          <p:nvGrpSpPr>
            <p:cNvPr id="310" name="extend" descr="extend, connect, datacenters">
              <a:extLst>
                <a:ext uri="{FF2B5EF4-FFF2-40B4-BE49-F238E27FC236}">
                  <a16:creationId xmlns:a16="http://schemas.microsoft.com/office/drawing/2014/main" id="{971D74AA-D4AD-4AFF-95B2-1B2FBD52FF59}"/>
                </a:ext>
              </a:extLst>
            </p:cNvPr>
            <p:cNvGrpSpPr>
              <a:grpSpLocks noChangeAspect="1"/>
            </p:cNvGrpSpPr>
            <p:nvPr/>
          </p:nvGrpSpPr>
          <p:grpSpPr bwMode="auto">
            <a:xfrm>
              <a:off x="8044698" y="2545069"/>
              <a:ext cx="351371" cy="328596"/>
              <a:chOff x="1633" y="784"/>
              <a:chExt cx="280" cy="280"/>
            </a:xfrm>
          </p:grpSpPr>
          <p:sp>
            <p:nvSpPr>
              <p:cNvPr id="311" name="Rectangle 18">
                <a:extLst>
                  <a:ext uri="{FF2B5EF4-FFF2-40B4-BE49-F238E27FC236}">
                    <a16:creationId xmlns:a16="http://schemas.microsoft.com/office/drawing/2014/main" id="{AA548597-2647-4787-9BA0-CCC2C6F252BF}"/>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2" name="Rectangle 19">
                <a:extLst>
                  <a:ext uri="{FF2B5EF4-FFF2-40B4-BE49-F238E27FC236}">
                    <a16:creationId xmlns:a16="http://schemas.microsoft.com/office/drawing/2014/main" id="{91E73843-5A9E-4B56-BDCF-3B02290F8611}"/>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3" name="Rectangle 20">
                <a:extLst>
                  <a:ext uri="{FF2B5EF4-FFF2-40B4-BE49-F238E27FC236}">
                    <a16:creationId xmlns:a16="http://schemas.microsoft.com/office/drawing/2014/main" id="{BF5B34CB-ADDF-4EEF-99B9-98908FD8DD75}"/>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4" name="Rectangle 21">
                <a:extLst>
                  <a:ext uri="{FF2B5EF4-FFF2-40B4-BE49-F238E27FC236}">
                    <a16:creationId xmlns:a16="http://schemas.microsoft.com/office/drawing/2014/main" id="{0483A943-C124-454B-9505-5A123D6E76F9}"/>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5" name="Rectangle 22">
                <a:extLst>
                  <a:ext uri="{FF2B5EF4-FFF2-40B4-BE49-F238E27FC236}">
                    <a16:creationId xmlns:a16="http://schemas.microsoft.com/office/drawing/2014/main" id="{D5BE5E17-A51A-4C6B-8A09-5BF32E380C67}"/>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6" name="Rectangle 23">
                <a:extLst>
                  <a:ext uri="{FF2B5EF4-FFF2-40B4-BE49-F238E27FC236}">
                    <a16:creationId xmlns:a16="http://schemas.microsoft.com/office/drawing/2014/main" id="{23604A7D-0947-4FD9-8D6B-C5FE07A805A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8" name="Rectangle 24">
                <a:extLst>
                  <a:ext uri="{FF2B5EF4-FFF2-40B4-BE49-F238E27FC236}">
                    <a16:creationId xmlns:a16="http://schemas.microsoft.com/office/drawing/2014/main" id="{4D1DF7ED-02AE-4D7D-B137-2CE40732ACED}"/>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19" name="Rectangle 25">
                <a:extLst>
                  <a:ext uri="{FF2B5EF4-FFF2-40B4-BE49-F238E27FC236}">
                    <a16:creationId xmlns:a16="http://schemas.microsoft.com/office/drawing/2014/main" id="{371C1F8F-CE04-43F1-8E78-51F6D7F6AF31}"/>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0" name="Rectangle 26">
                <a:extLst>
                  <a:ext uri="{FF2B5EF4-FFF2-40B4-BE49-F238E27FC236}">
                    <a16:creationId xmlns:a16="http://schemas.microsoft.com/office/drawing/2014/main" id="{CC9A4330-D56D-4000-BB8E-E8A95F6D9AC2}"/>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1" name="Oval 27">
                <a:extLst>
                  <a:ext uri="{FF2B5EF4-FFF2-40B4-BE49-F238E27FC236}">
                    <a16:creationId xmlns:a16="http://schemas.microsoft.com/office/drawing/2014/main" id="{458B26D8-64D6-4CC4-955B-B4523B3E1D5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2" name="Rectangle 28">
                <a:extLst>
                  <a:ext uri="{FF2B5EF4-FFF2-40B4-BE49-F238E27FC236}">
                    <a16:creationId xmlns:a16="http://schemas.microsoft.com/office/drawing/2014/main" id="{96754DEC-737B-46F9-8BFE-CE99AE5CB946}"/>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3" name="Rectangle 29">
                <a:extLst>
                  <a:ext uri="{FF2B5EF4-FFF2-40B4-BE49-F238E27FC236}">
                    <a16:creationId xmlns:a16="http://schemas.microsoft.com/office/drawing/2014/main" id="{580643FD-5248-4A1D-853A-3FE7CBC0847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4" name="Rectangle 30">
                <a:extLst>
                  <a:ext uri="{FF2B5EF4-FFF2-40B4-BE49-F238E27FC236}">
                    <a16:creationId xmlns:a16="http://schemas.microsoft.com/office/drawing/2014/main" id="{FA25ED8F-383C-4D65-AC08-4C63420F3D97}"/>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5" name="Rectangle 31">
                <a:extLst>
                  <a:ext uri="{FF2B5EF4-FFF2-40B4-BE49-F238E27FC236}">
                    <a16:creationId xmlns:a16="http://schemas.microsoft.com/office/drawing/2014/main" id="{243D86B6-8DC3-414C-B6B5-D38AF6C29EF3}"/>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6" name="Oval 32">
                <a:extLst>
                  <a:ext uri="{FF2B5EF4-FFF2-40B4-BE49-F238E27FC236}">
                    <a16:creationId xmlns:a16="http://schemas.microsoft.com/office/drawing/2014/main" id="{683FE9EC-42C2-44E1-9219-72C0EB084751}"/>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7" name="Oval 33">
                <a:extLst>
                  <a:ext uri="{FF2B5EF4-FFF2-40B4-BE49-F238E27FC236}">
                    <a16:creationId xmlns:a16="http://schemas.microsoft.com/office/drawing/2014/main" id="{F226859C-44AC-41DE-BEE4-36314CEE1BEE}"/>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8" name="Rectangle 34">
                <a:extLst>
                  <a:ext uri="{FF2B5EF4-FFF2-40B4-BE49-F238E27FC236}">
                    <a16:creationId xmlns:a16="http://schemas.microsoft.com/office/drawing/2014/main" id="{3D8993D4-564E-45F5-A0F2-14219569C20A}"/>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29" name="Rectangle 35">
                <a:extLst>
                  <a:ext uri="{FF2B5EF4-FFF2-40B4-BE49-F238E27FC236}">
                    <a16:creationId xmlns:a16="http://schemas.microsoft.com/office/drawing/2014/main" id="{BCEBC191-FE3C-4549-A4D0-C15FDE1F56F3}"/>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sp>
            <p:nvSpPr>
              <p:cNvPr id="330" name="Rectangle 36">
                <a:extLst>
                  <a:ext uri="{FF2B5EF4-FFF2-40B4-BE49-F238E27FC236}">
                    <a16:creationId xmlns:a16="http://schemas.microsoft.com/office/drawing/2014/main" id="{AB868A4F-D073-42BF-BC71-BFC6C3F34171}"/>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defRPr/>
                </a:pPr>
                <a:endParaRPr lang="en-US" sz="1600">
                  <a:solidFill>
                    <a:srgbClr val="FFFFFF"/>
                  </a:solidFill>
                  <a:latin typeface="Segoe UI"/>
                </a:endParaRPr>
              </a:p>
            </p:txBody>
          </p:sp>
        </p:grpSp>
      </p:grpSp>
      <p:cxnSp>
        <p:nvCxnSpPr>
          <p:cNvPr id="8" name="Straight Connector 7">
            <a:extLst>
              <a:ext uri="{FF2B5EF4-FFF2-40B4-BE49-F238E27FC236}">
                <a16:creationId xmlns:a16="http://schemas.microsoft.com/office/drawing/2014/main" id="{7F50103A-24DE-48C8-8732-11D232D71B05}"/>
              </a:ext>
            </a:extLst>
          </p:cNvPr>
          <p:cNvCxnSpPr>
            <a:cxnSpLocks/>
          </p:cNvCxnSpPr>
          <p:nvPr/>
        </p:nvCxnSpPr>
        <p:spPr>
          <a:xfrm>
            <a:off x="582950" y="3865361"/>
            <a:ext cx="11026100" cy="0"/>
          </a:xfrm>
          <a:prstGeom prst="line">
            <a:avLst/>
          </a:prstGeom>
          <a:solidFill>
            <a:schemeClr val="bg1"/>
          </a:solidFill>
          <a:ln w="1270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7" name="Group 6">
            <a:extLst>
              <a:ext uri="{FF2B5EF4-FFF2-40B4-BE49-F238E27FC236}">
                <a16:creationId xmlns:a16="http://schemas.microsoft.com/office/drawing/2014/main" id="{6E9C013A-E858-4964-917A-3765487F58DF}"/>
              </a:ext>
            </a:extLst>
          </p:cNvPr>
          <p:cNvGrpSpPr/>
          <p:nvPr/>
        </p:nvGrpSpPr>
        <p:grpSpPr>
          <a:xfrm>
            <a:off x="1002683" y="4085464"/>
            <a:ext cx="10191073" cy="457801"/>
            <a:chOff x="806002" y="3851791"/>
            <a:chExt cx="10192518" cy="457865"/>
          </a:xfrm>
        </p:grpSpPr>
        <p:grpSp>
          <p:nvGrpSpPr>
            <p:cNvPr id="44" name="Group 43">
              <a:extLst>
                <a:ext uri="{FF2B5EF4-FFF2-40B4-BE49-F238E27FC236}">
                  <a16:creationId xmlns:a16="http://schemas.microsoft.com/office/drawing/2014/main" id="{B3F7C87B-8826-4A32-A09C-AC922ABF0F08}"/>
                </a:ext>
              </a:extLst>
            </p:cNvPr>
            <p:cNvGrpSpPr/>
            <p:nvPr/>
          </p:nvGrpSpPr>
          <p:grpSpPr>
            <a:xfrm>
              <a:off x="4899242" y="3864452"/>
              <a:ext cx="1393635" cy="434153"/>
              <a:chOff x="2865735" y="4368575"/>
              <a:chExt cx="1393833" cy="434214"/>
            </a:xfrm>
          </p:grpSpPr>
          <p:sp>
            <p:nvSpPr>
              <p:cNvPr id="280" name="Rectangle 279">
                <a:extLst>
                  <a:ext uri="{FF2B5EF4-FFF2-40B4-BE49-F238E27FC236}">
                    <a16:creationId xmlns:a16="http://schemas.microsoft.com/office/drawing/2014/main" id="{7F11F82C-BC09-42E2-B0AA-1075B35A8AC2}"/>
                  </a:ext>
                </a:extLst>
              </p:cNvPr>
              <p:cNvSpPr/>
              <p:nvPr/>
            </p:nvSpPr>
            <p:spPr bwMode="auto">
              <a:xfrm>
                <a:off x="3570401" y="4368575"/>
                <a:ext cx="689167" cy="4342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Azure </a:t>
                </a:r>
                <a:br>
                  <a:rPr lang="en-US" sz="1567" b="1" dirty="0">
                    <a:solidFill>
                      <a:schemeClr val="tx1"/>
                    </a:solidFill>
                    <a:latin typeface="Segoe UI Semibold"/>
                  </a:rPr>
                </a:br>
                <a:r>
                  <a:rPr lang="en-US" sz="1567" b="1" dirty="0">
                    <a:solidFill>
                      <a:schemeClr val="tx1"/>
                    </a:solidFill>
                    <a:latin typeface="Segoe UI Semibold"/>
                  </a:rPr>
                  <a:t>trainers</a:t>
                </a:r>
              </a:p>
            </p:txBody>
          </p:sp>
          <p:grpSp>
            <p:nvGrpSpPr>
              <p:cNvPr id="284" name="training" descr="training, weights">
                <a:extLst>
                  <a:ext uri="{FF2B5EF4-FFF2-40B4-BE49-F238E27FC236}">
                    <a16:creationId xmlns:a16="http://schemas.microsoft.com/office/drawing/2014/main" id="{6C877720-CFE8-49EF-92E7-C5828C73BD7C}"/>
                  </a:ext>
                </a:extLst>
              </p:cNvPr>
              <p:cNvGrpSpPr>
                <a:grpSpLocks noChangeAspect="1"/>
              </p:cNvGrpSpPr>
              <p:nvPr/>
            </p:nvGrpSpPr>
            <p:grpSpPr bwMode="auto">
              <a:xfrm>
                <a:off x="2865735" y="4494951"/>
                <a:ext cx="548869" cy="202637"/>
                <a:chOff x="1416" y="1937"/>
                <a:chExt cx="518" cy="213"/>
              </a:xfrm>
            </p:grpSpPr>
            <p:sp>
              <p:nvSpPr>
                <p:cNvPr id="285" name="AutoShape 92">
                  <a:extLst>
                    <a:ext uri="{FF2B5EF4-FFF2-40B4-BE49-F238E27FC236}">
                      <a16:creationId xmlns:a16="http://schemas.microsoft.com/office/drawing/2014/main" id="{C3B40CBB-ECD6-4B74-9DBF-FC2F6BD0E67A}"/>
                    </a:ext>
                  </a:extLst>
                </p:cNvPr>
                <p:cNvSpPr>
                  <a:spLocks noChangeAspect="1" noChangeArrowheads="1" noTextEdit="1"/>
                </p:cNvSpPr>
                <p:nvPr/>
              </p:nvSpPr>
              <p:spPr bwMode="auto">
                <a:xfrm>
                  <a:off x="1416" y="1937"/>
                  <a:ext cx="358"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6" name="Rectangle 94">
                  <a:extLst>
                    <a:ext uri="{FF2B5EF4-FFF2-40B4-BE49-F238E27FC236}">
                      <a16:creationId xmlns:a16="http://schemas.microsoft.com/office/drawing/2014/main" id="{2309562B-EE37-4081-8579-DD30AFBA745A}"/>
                    </a:ext>
                  </a:extLst>
                </p:cNvPr>
                <p:cNvSpPr>
                  <a:spLocks noChangeArrowheads="1"/>
                </p:cNvSpPr>
                <p:nvPr/>
              </p:nvSpPr>
              <p:spPr bwMode="auto">
                <a:xfrm>
                  <a:off x="1574" y="2025"/>
                  <a:ext cx="47"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7" name="Rectangle 95">
                  <a:extLst>
                    <a:ext uri="{FF2B5EF4-FFF2-40B4-BE49-F238E27FC236}">
                      <a16:creationId xmlns:a16="http://schemas.microsoft.com/office/drawing/2014/main" id="{63528F0B-8479-4242-9C0C-030B293917D1}"/>
                    </a:ext>
                  </a:extLst>
                </p:cNvPr>
                <p:cNvSpPr>
                  <a:spLocks noChangeArrowheads="1"/>
                </p:cNvSpPr>
                <p:nvPr/>
              </p:nvSpPr>
              <p:spPr bwMode="auto">
                <a:xfrm>
                  <a:off x="1889" y="2027"/>
                  <a:ext cx="45"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8" name="Rectangle 96">
                  <a:extLst>
                    <a:ext uri="{FF2B5EF4-FFF2-40B4-BE49-F238E27FC236}">
                      <a16:creationId xmlns:a16="http://schemas.microsoft.com/office/drawing/2014/main" id="{5DB36158-06F9-46BF-8FDC-781ED8A77859}"/>
                    </a:ext>
                  </a:extLst>
                </p:cNvPr>
                <p:cNvSpPr>
                  <a:spLocks noChangeArrowheads="1"/>
                </p:cNvSpPr>
                <p:nvPr/>
              </p:nvSpPr>
              <p:spPr bwMode="auto">
                <a:xfrm>
                  <a:off x="1683" y="2025"/>
                  <a:ext cx="142" cy="3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89" name="Rectangle 97">
                  <a:extLst>
                    <a:ext uri="{FF2B5EF4-FFF2-40B4-BE49-F238E27FC236}">
                      <a16:creationId xmlns:a16="http://schemas.microsoft.com/office/drawing/2014/main" id="{138C3AF1-3970-42C1-8BD8-7CBAD488B5C0}"/>
                    </a:ext>
                  </a:extLst>
                </p:cNvPr>
                <p:cNvSpPr>
                  <a:spLocks noChangeArrowheads="1"/>
                </p:cNvSpPr>
                <p:nvPr/>
              </p:nvSpPr>
              <p:spPr bwMode="auto">
                <a:xfrm>
                  <a:off x="1811" y="1937"/>
                  <a:ext cx="53"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90" name="Rectangle 98">
                  <a:extLst>
                    <a:ext uri="{FF2B5EF4-FFF2-40B4-BE49-F238E27FC236}">
                      <a16:creationId xmlns:a16="http://schemas.microsoft.com/office/drawing/2014/main" id="{968998DE-50A5-44CA-974F-3DF9E94EC3FE}"/>
                    </a:ext>
                  </a:extLst>
                </p:cNvPr>
                <p:cNvSpPr>
                  <a:spLocks noChangeArrowheads="1"/>
                </p:cNvSpPr>
                <p:nvPr/>
              </p:nvSpPr>
              <p:spPr bwMode="auto">
                <a:xfrm>
                  <a:off x="1878"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91" name="Rectangle 99">
                  <a:extLst>
                    <a:ext uri="{FF2B5EF4-FFF2-40B4-BE49-F238E27FC236}">
                      <a16:creationId xmlns:a16="http://schemas.microsoft.com/office/drawing/2014/main" id="{360B6AA2-72D0-4DCC-95B2-8C963E96CCBE}"/>
                    </a:ext>
                  </a:extLst>
                </p:cNvPr>
                <p:cNvSpPr>
                  <a:spLocks noChangeArrowheads="1"/>
                </p:cNvSpPr>
                <p:nvPr/>
              </p:nvSpPr>
              <p:spPr bwMode="auto">
                <a:xfrm>
                  <a:off x="1646" y="1937"/>
                  <a:ext cx="51" cy="2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292" name="Rectangle 100">
                  <a:extLst>
                    <a:ext uri="{FF2B5EF4-FFF2-40B4-BE49-F238E27FC236}">
                      <a16:creationId xmlns:a16="http://schemas.microsoft.com/office/drawing/2014/main" id="{0A80FF4A-F4B5-4FC3-AC68-57450C81513F}"/>
                    </a:ext>
                  </a:extLst>
                </p:cNvPr>
                <p:cNvSpPr>
                  <a:spLocks noChangeArrowheads="1"/>
                </p:cNvSpPr>
                <p:nvPr/>
              </p:nvSpPr>
              <p:spPr bwMode="auto">
                <a:xfrm>
                  <a:off x="1603" y="1964"/>
                  <a:ext cx="27" cy="15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grpSp>
        </p:grpSp>
        <p:grpSp>
          <p:nvGrpSpPr>
            <p:cNvPr id="43" name="Group 42">
              <a:extLst>
                <a:ext uri="{FF2B5EF4-FFF2-40B4-BE49-F238E27FC236}">
                  <a16:creationId xmlns:a16="http://schemas.microsoft.com/office/drawing/2014/main" id="{D13FD57D-F9B5-4DC9-ADA3-0DEF83CB85B5}"/>
                </a:ext>
              </a:extLst>
            </p:cNvPr>
            <p:cNvGrpSpPr/>
            <p:nvPr/>
          </p:nvGrpSpPr>
          <p:grpSpPr>
            <a:xfrm>
              <a:off x="6925248" y="3864379"/>
              <a:ext cx="1970731" cy="434367"/>
              <a:chOff x="5087458" y="4379091"/>
              <a:chExt cx="1971010" cy="434428"/>
            </a:xfrm>
          </p:grpSpPr>
          <p:sp>
            <p:nvSpPr>
              <p:cNvPr id="282" name="Rectangle 281">
                <a:extLst>
                  <a:ext uri="{FF2B5EF4-FFF2-40B4-BE49-F238E27FC236}">
                    <a16:creationId xmlns:a16="http://schemas.microsoft.com/office/drawing/2014/main" id="{45490D93-E2AE-4303-9871-DA006C1570BF}"/>
                  </a:ext>
                </a:extLst>
              </p:cNvPr>
              <p:cNvSpPr/>
              <p:nvPr/>
            </p:nvSpPr>
            <p:spPr bwMode="auto">
              <a:xfrm>
                <a:off x="5539260" y="4379091"/>
                <a:ext cx="1519208" cy="43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a:gradFill>
                      <a:gsLst>
                        <a:gs pos="0">
                          <a:srgbClr val="FFFFFF"/>
                        </a:gs>
                        <a:gs pos="100000">
                          <a:srgbClr val="FFFFFF"/>
                        </a:gs>
                      </a:gsLst>
                      <a:lin ang="5400000" scaled="0"/>
                    </a:gradFill>
                    <a:latin typeface="Segoe UI Semibold"/>
                  </a:rPr>
                  <a:t>FastTrack for Azure engineers </a:t>
                </a:r>
              </a:p>
            </p:txBody>
          </p:sp>
          <p:grpSp>
            <p:nvGrpSpPr>
              <p:cNvPr id="293" name="assistance" descr="assistance, engineers, clipboard, wrench, field service">
                <a:extLst>
                  <a:ext uri="{FF2B5EF4-FFF2-40B4-BE49-F238E27FC236}">
                    <a16:creationId xmlns:a16="http://schemas.microsoft.com/office/drawing/2014/main" id="{3D15645B-D45E-45D7-8E7B-40746ACB21E6}"/>
                  </a:ext>
                </a:extLst>
              </p:cNvPr>
              <p:cNvGrpSpPr/>
              <p:nvPr/>
            </p:nvGrpSpPr>
            <p:grpSpPr>
              <a:xfrm>
                <a:off x="5087458" y="4461883"/>
                <a:ext cx="269102" cy="268773"/>
                <a:chOff x="5388740" y="3006662"/>
                <a:chExt cx="361186" cy="401793"/>
              </a:xfrm>
            </p:grpSpPr>
            <p:sp>
              <p:nvSpPr>
                <p:cNvPr id="294" name="Rectangle 86">
                  <a:extLst>
                    <a:ext uri="{FF2B5EF4-FFF2-40B4-BE49-F238E27FC236}">
                      <a16:creationId xmlns:a16="http://schemas.microsoft.com/office/drawing/2014/main" id="{5D8F3AB8-48D3-43CF-A238-2A0E625CA514}"/>
                    </a:ext>
                  </a:extLst>
                </p:cNvPr>
                <p:cNvSpPr>
                  <a:spLocks noChangeArrowheads="1"/>
                </p:cNvSpPr>
                <p:nvPr/>
              </p:nvSpPr>
              <p:spPr bwMode="auto">
                <a:xfrm>
                  <a:off x="5494531" y="3026966"/>
                  <a:ext cx="255395" cy="38148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endParaRPr lang="en-US" sz="1600">
                    <a:solidFill>
                      <a:srgbClr val="505050"/>
                    </a:solidFill>
                    <a:latin typeface="Segoe UI"/>
                  </a:endParaRPr>
                </a:p>
              </p:txBody>
            </p:sp>
            <p:sp>
              <p:nvSpPr>
                <p:cNvPr id="295" name="Rectangle 87">
                  <a:extLst>
                    <a:ext uri="{FF2B5EF4-FFF2-40B4-BE49-F238E27FC236}">
                      <a16:creationId xmlns:a16="http://schemas.microsoft.com/office/drawing/2014/main" id="{410ACBCD-EF5C-4863-BBD3-067AB3DD7486}"/>
                    </a:ext>
                  </a:extLst>
                </p:cNvPr>
                <p:cNvSpPr>
                  <a:spLocks noChangeArrowheads="1"/>
                </p:cNvSpPr>
                <p:nvPr/>
              </p:nvSpPr>
              <p:spPr bwMode="auto">
                <a:xfrm>
                  <a:off x="5537275" y="3006662"/>
                  <a:ext cx="169907" cy="416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lgn="ctr" defTabSz="896042" fontAlgn="base"/>
                  <a:endParaRPr lang="en-US" sz="1600">
                    <a:solidFill>
                      <a:srgbClr val="505050"/>
                    </a:solidFill>
                    <a:latin typeface="Segoe UI"/>
                  </a:endParaRPr>
                </a:p>
              </p:txBody>
            </p:sp>
            <p:sp>
              <p:nvSpPr>
                <p:cNvPr id="296" name="Freeform 88">
                  <a:extLst>
                    <a:ext uri="{FF2B5EF4-FFF2-40B4-BE49-F238E27FC236}">
                      <a16:creationId xmlns:a16="http://schemas.microsoft.com/office/drawing/2014/main" id="{5E2BAEA5-C8F8-4118-A897-0FC44453F690}"/>
                    </a:ext>
                  </a:extLst>
                </p:cNvPr>
                <p:cNvSpPr>
                  <a:spLocks noEditPoints="1"/>
                </p:cNvSpPr>
                <p:nvPr/>
              </p:nvSpPr>
              <p:spPr bwMode="auto">
                <a:xfrm>
                  <a:off x="5388740" y="3079327"/>
                  <a:ext cx="330197" cy="329128"/>
                </a:xfrm>
                <a:custGeom>
                  <a:avLst/>
                  <a:gdLst>
                    <a:gd name="T0" fmla="*/ 376 w 462"/>
                    <a:gd name="T1" fmla="*/ 164 h 461"/>
                    <a:gd name="T2" fmla="*/ 297 w 462"/>
                    <a:gd name="T3" fmla="*/ 85 h 461"/>
                    <a:gd name="T4" fmla="*/ 368 w 462"/>
                    <a:gd name="T5" fmla="*/ 14 h 461"/>
                    <a:gd name="T6" fmla="*/ 284 w 462"/>
                    <a:gd name="T7" fmla="*/ 5 h 461"/>
                    <a:gd name="T8" fmla="*/ 209 w 462"/>
                    <a:gd name="T9" fmla="*/ 44 h 461"/>
                    <a:gd name="T10" fmla="*/ 168 w 462"/>
                    <a:gd name="T11" fmla="*/ 118 h 461"/>
                    <a:gd name="T12" fmla="*/ 175 w 462"/>
                    <a:gd name="T13" fmla="*/ 202 h 461"/>
                    <a:gd name="T14" fmla="*/ 17 w 462"/>
                    <a:gd name="T15" fmla="*/ 360 h 461"/>
                    <a:gd name="T16" fmla="*/ 0 w 462"/>
                    <a:gd name="T17" fmla="*/ 402 h 461"/>
                    <a:gd name="T18" fmla="*/ 17 w 462"/>
                    <a:gd name="T19" fmla="*/ 444 h 461"/>
                    <a:gd name="T20" fmla="*/ 59 w 462"/>
                    <a:gd name="T21" fmla="*/ 461 h 461"/>
                    <a:gd name="T22" fmla="*/ 101 w 462"/>
                    <a:gd name="T23" fmla="*/ 444 h 461"/>
                    <a:gd name="T24" fmla="*/ 259 w 462"/>
                    <a:gd name="T25" fmla="*/ 286 h 461"/>
                    <a:gd name="T26" fmla="*/ 343 w 462"/>
                    <a:gd name="T27" fmla="*/ 293 h 461"/>
                    <a:gd name="T28" fmla="*/ 417 w 462"/>
                    <a:gd name="T29" fmla="*/ 252 h 461"/>
                    <a:gd name="T30" fmla="*/ 456 w 462"/>
                    <a:gd name="T31" fmla="*/ 177 h 461"/>
                    <a:gd name="T32" fmla="*/ 448 w 462"/>
                    <a:gd name="T33" fmla="*/ 93 h 461"/>
                    <a:gd name="T34" fmla="*/ 376 w 462"/>
                    <a:gd name="T35" fmla="*/ 164 h 461"/>
                    <a:gd name="T36" fmla="*/ 80 w 462"/>
                    <a:gd name="T37" fmla="*/ 423 h 461"/>
                    <a:gd name="T38" fmla="*/ 65 w 462"/>
                    <a:gd name="T39" fmla="*/ 431 h 461"/>
                    <a:gd name="T40" fmla="*/ 48 w 462"/>
                    <a:gd name="T41" fmla="*/ 429 h 461"/>
                    <a:gd name="T42" fmla="*/ 35 w 462"/>
                    <a:gd name="T43" fmla="*/ 418 h 461"/>
                    <a:gd name="T44" fmla="*/ 30 w 462"/>
                    <a:gd name="T45" fmla="*/ 402 h 461"/>
                    <a:gd name="T46" fmla="*/ 35 w 462"/>
                    <a:gd name="T47" fmla="*/ 385 h 461"/>
                    <a:gd name="T48" fmla="*/ 48 w 462"/>
                    <a:gd name="T49" fmla="*/ 374 h 461"/>
                    <a:gd name="T50" fmla="*/ 65 w 462"/>
                    <a:gd name="T51" fmla="*/ 373 h 461"/>
                    <a:gd name="T52" fmla="*/ 80 w 462"/>
                    <a:gd name="T53" fmla="*/ 381 h 461"/>
                    <a:gd name="T54" fmla="*/ 89 w 462"/>
                    <a:gd name="T55" fmla="*/ 402 h 461"/>
                    <a:gd name="T56" fmla="*/ 80 w 462"/>
                    <a:gd name="T57" fmla="*/ 423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2" h="461">
                      <a:moveTo>
                        <a:pt x="376" y="164"/>
                      </a:moveTo>
                      <a:cubicBezTo>
                        <a:pt x="297" y="85"/>
                        <a:pt x="297" y="85"/>
                        <a:pt x="297" y="85"/>
                      </a:cubicBezTo>
                      <a:cubicBezTo>
                        <a:pt x="368" y="14"/>
                        <a:pt x="368" y="14"/>
                        <a:pt x="368" y="14"/>
                      </a:cubicBezTo>
                      <a:cubicBezTo>
                        <a:pt x="342" y="3"/>
                        <a:pt x="313" y="0"/>
                        <a:pt x="284" y="5"/>
                      </a:cubicBezTo>
                      <a:cubicBezTo>
                        <a:pt x="256" y="10"/>
                        <a:pt x="230" y="24"/>
                        <a:pt x="209" y="44"/>
                      </a:cubicBezTo>
                      <a:cubicBezTo>
                        <a:pt x="189" y="64"/>
                        <a:pt x="175" y="90"/>
                        <a:pt x="168" y="118"/>
                      </a:cubicBezTo>
                      <a:cubicBezTo>
                        <a:pt x="162" y="146"/>
                        <a:pt x="165" y="175"/>
                        <a:pt x="175" y="202"/>
                      </a:cubicBezTo>
                      <a:cubicBezTo>
                        <a:pt x="17" y="360"/>
                        <a:pt x="17" y="360"/>
                        <a:pt x="17" y="360"/>
                      </a:cubicBezTo>
                      <a:cubicBezTo>
                        <a:pt x="6" y="371"/>
                        <a:pt x="0" y="386"/>
                        <a:pt x="0" y="402"/>
                      </a:cubicBezTo>
                      <a:cubicBezTo>
                        <a:pt x="0" y="418"/>
                        <a:pt x="6" y="433"/>
                        <a:pt x="17" y="444"/>
                      </a:cubicBezTo>
                      <a:cubicBezTo>
                        <a:pt x="28" y="455"/>
                        <a:pt x="44" y="461"/>
                        <a:pt x="59" y="461"/>
                      </a:cubicBezTo>
                      <a:cubicBezTo>
                        <a:pt x="75" y="461"/>
                        <a:pt x="90" y="455"/>
                        <a:pt x="101" y="444"/>
                      </a:cubicBezTo>
                      <a:cubicBezTo>
                        <a:pt x="259" y="286"/>
                        <a:pt x="259" y="286"/>
                        <a:pt x="259" y="286"/>
                      </a:cubicBezTo>
                      <a:cubicBezTo>
                        <a:pt x="286" y="297"/>
                        <a:pt x="315" y="299"/>
                        <a:pt x="343" y="293"/>
                      </a:cubicBezTo>
                      <a:cubicBezTo>
                        <a:pt x="371" y="287"/>
                        <a:pt x="397" y="272"/>
                        <a:pt x="417" y="252"/>
                      </a:cubicBezTo>
                      <a:cubicBezTo>
                        <a:pt x="437" y="231"/>
                        <a:pt x="451" y="205"/>
                        <a:pt x="456" y="177"/>
                      </a:cubicBezTo>
                      <a:cubicBezTo>
                        <a:pt x="462" y="149"/>
                        <a:pt x="459" y="119"/>
                        <a:pt x="448" y="93"/>
                      </a:cubicBezTo>
                      <a:lnTo>
                        <a:pt x="376" y="164"/>
                      </a:lnTo>
                      <a:close/>
                      <a:moveTo>
                        <a:pt x="80" y="423"/>
                      </a:moveTo>
                      <a:cubicBezTo>
                        <a:pt x="76" y="427"/>
                        <a:pt x="71" y="430"/>
                        <a:pt x="65" y="431"/>
                      </a:cubicBezTo>
                      <a:cubicBezTo>
                        <a:pt x="59" y="432"/>
                        <a:pt x="53" y="432"/>
                        <a:pt x="48" y="429"/>
                      </a:cubicBezTo>
                      <a:cubicBezTo>
                        <a:pt x="43" y="427"/>
                        <a:pt x="38" y="423"/>
                        <a:pt x="35" y="418"/>
                      </a:cubicBezTo>
                      <a:cubicBezTo>
                        <a:pt x="31" y="414"/>
                        <a:pt x="30" y="408"/>
                        <a:pt x="30" y="402"/>
                      </a:cubicBezTo>
                      <a:cubicBezTo>
                        <a:pt x="30" y="396"/>
                        <a:pt x="31" y="390"/>
                        <a:pt x="35" y="385"/>
                      </a:cubicBezTo>
                      <a:cubicBezTo>
                        <a:pt x="38" y="381"/>
                        <a:pt x="43" y="377"/>
                        <a:pt x="48" y="374"/>
                      </a:cubicBezTo>
                      <a:cubicBezTo>
                        <a:pt x="53" y="372"/>
                        <a:pt x="59" y="372"/>
                        <a:pt x="65" y="373"/>
                      </a:cubicBezTo>
                      <a:cubicBezTo>
                        <a:pt x="71" y="374"/>
                        <a:pt x="76" y="377"/>
                        <a:pt x="80" y="381"/>
                      </a:cubicBezTo>
                      <a:cubicBezTo>
                        <a:pt x="86" y="386"/>
                        <a:pt x="89" y="394"/>
                        <a:pt x="89" y="402"/>
                      </a:cubicBezTo>
                      <a:cubicBezTo>
                        <a:pt x="89" y="410"/>
                        <a:pt x="86" y="417"/>
                        <a:pt x="80" y="4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algn="ctr" defTabSz="896042" fontAlgn="base"/>
                  <a:endParaRPr lang="en-US" sz="1600">
                    <a:solidFill>
                      <a:srgbClr val="505050"/>
                    </a:solidFill>
                    <a:latin typeface="Segoe UI"/>
                  </a:endParaRPr>
                </a:p>
              </p:txBody>
            </p:sp>
          </p:grpSp>
          <p:sp>
            <p:nvSpPr>
              <p:cNvPr id="126" name="Rectangle 125">
                <a:extLst>
                  <a:ext uri="{FF2B5EF4-FFF2-40B4-BE49-F238E27FC236}">
                    <a16:creationId xmlns:a16="http://schemas.microsoft.com/office/drawing/2014/main" id="{D3DF238C-05AE-447A-8080-F2751967119C}"/>
                  </a:ext>
                </a:extLst>
              </p:cNvPr>
              <p:cNvSpPr/>
              <p:nvPr/>
            </p:nvSpPr>
            <p:spPr bwMode="auto">
              <a:xfrm>
                <a:off x="5539260" y="4379162"/>
                <a:ext cx="1519208" cy="4343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FastTrack for Azure engineers </a:t>
                </a:r>
              </a:p>
            </p:txBody>
          </p:sp>
        </p:grpSp>
        <p:grpSp>
          <p:nvGrpSpPr>
            <p:cNvPr id="42" name="Group 41">
              <a:extLst>
                <a:ext uri="{FF2B5EF4-FFF2-40B4-BE49-F238E27FC236}">
                  <a16:creationId xmlns:a16="http://schemas.microsoft.com/office/drawing/2014/main" id="{AE86F852-E4D6-4E9B-BC81-58CA3BF68F18}"/>
                </a:ext>
              </a:extLst>
            </p:cNvPr>
            <p:cNvGrpSpPr/>
            <p:nvPr/>
          </p:nvGrpSpPr>
          <p:grpSpPr>
            <a:xfrm>
              <a:off x="9528447" y="3864450"/>
              <a:ext cx="1470073" cy="434153"/>
              <a:chOff x="7529201" y="4379164"/>
              <a:chExt cx="1470282" cy="434214"/>
            </a:xfrm>
          </p:grpSpPr>
          <p:sp>
            <p:nvSpPr>
              <p:cNvPr id="281" name="Rectangle 280">
                <a:extLst>
                  <a:ext uri="{FF2B5EF4-FFF2-40B4-BE49-F238E27FC236}">
                    <a16:creationId xmlns:a16="http://schemas.microsoft.com/office/drawing/2014/main" id="{E88503DA-B4E2-4938-AE55-1FB8799246FE}"/>
                  </a:ext>
                </a:extLst>
              </p:cNvPr>
              <p:cNvSpPr/>
              <p:nvPr/>
            </p:nvSpPr>
            <p:spPr bwMode="auto">
              <a:xfrm>
                <a:off x="7981287" y="4379164"/>
                <a:ext cx="1018196" cy="4342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Specialized</a:t>
                </a:r>
                <a:br>
                  <a:rPr lang="en-US" sz="1567" b="1" dirty="0">
                    <a:solidFill>
                      <a:schemeClr val="tx1"/>
                    </a:solidFill>
                    <a:latin typeface="Segoe UI Semibold"/>
                  </a:rPr>
                </a:br>
                <a:r>
                  <a:rPr lang="en-US" sz="1567" b="1" dirty="0">
                    <a:solidFill>
                      <a:schemeClr val="tx1"/>
                    </a:solidFill>
                    <a:latin typeface="Segoe UI Semibold"/>
                  </a:rPr>
                  <a:t>partners</a:t>
                </a:r>
              </a:p>
            </p:txBody>
          </p:sp>
          <p:grpSp>
            <p:nvGrpSpPr>
              <p:cNvPr id="297" name="Group 296">
                <a:extLst>
                  <a:ext uri="{FF2B5EF4-FFF2-40B4-BE49-F238E27FC236}">
                    <a16:creationId xmlns:a16="http://schemas.microsoft.com/office/drawing/2014/main" id="{C834F4EC-A627-47C0-AFD5-D59F70F5B24D}"/>
                  </a:ext>
                </a:extLst>
              </p:cNvPr>
              <p:cNvGrpSpPr/>
              <p:nvPr/>
            </p:nvGrpSpPr>
            <p:grpSpPr>
              <a:xfrm>
                <a:off x="7529201" y="4469126"/>
                <a:ext cx="336670" cy="254302"/>
                <a:chOff x="9123600" y="4231703"/>
                <a:chExt cx="535057" cy="450140"/>
              </a:xfrm>
            </p:grpSpPr>
            <p:grpSp>
              <p:nvGrpSpPr>
                <p:cNvPr id="298" name="management at scale" descr="management at scale">
                  <a:extLst>
                    <a:ext uri="{FF2B5EF4-FFF2-40B4-BE49-F238E27FC236}">
                      <a16:creationId xmlns:a16="http://schemas.microsoft.com/office/drawing/2014/main" id="{3F3D8708-440D-4372-ADBA-3292BEEEDCB7}"/>
                    </a:ext>
                  </a:extLst>
                </p:cNvPr>
                <p:cNvGrpSpPr>
                  <a:grpSpLocks noChangeAspect="1"/>
                </p:cNvGrpSpPr>
                <p:nvPr/>
              </p:nvGrpSpPr>
              <p:grpSpPr bwMode="auto">
                <a:xfrm flipH="1" flipV="1">
                  <a:off x="9257014" y="4231703"/>
                  <a:ext cx="401643" cy="401632"/>
                  <a:chOff x="2841" y="774"/>
                  <a:chExt cx="253" cy="253"/>
                </a:xfrm>
              </p:grpSpPr>
              <p:sp>
                <p:nvSpPr>
                  <p:cNvPr id="302" name="AutoShape 27">
                    <a:extLst>
                      <a:ext uri="{FF2B5EF4-FFF2-40B4-BE49-F238E27FC236}">
                        <a16:creationId xmlns:a16="http://schemas.microsoft.com/office/drawing/2014/main" id="{57A74DF5-7AF5-4DB4-8945-DB864E1F83A1}"/>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303" name="Freeform 29">
                    <a:extLst>
                      <a:ext uri="{FF2B5EF4-FFF2-40B4-BE49-F238E27FC236}">
                        <a16:creationId xmlns:a16="http://schemas.microsoft.com/office/drawing/2014/main" id="{BBD7682E-D9B6-4030-96A6-A2BF811F843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304" name="Freeform 30">
                    <a:extLst>
                      <a:ext uri="{FF2B5EF4-FFF2-40B4-BE49-F238E27FC236}">
                        <a16:creationId xmlns:a16="http://schemas.microsoft.com/office/drawing/2014/main" id="{E3E25871-B0ED-4E17-B3A9-21897CDC66B5}"/>
                      </a:ext>
                    </a:extLst>
                  </p:cNvPr>
                  <p:cNvSpPr>
                    <a:spLocks/>
                  </p:cNvSpPr>
                  <p:nvPr/>
                </p:nvSpPr>
                <p:spPr bwMode="auto">
                  <a:xfrm>
                    <a:off x="2939" y="970"/>
                    <a:ext cx="57"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sp>
                <p:nvSpPr>
                  <p:cNvPr id="305" name="Freeform 31">
                    <a:extLst>
                      <a:ext uri="{FF2B5EF4-FFF2-40B4-BE49-F238E27FC236}">
                        <a16:creationId xmlns:a16="http://schemas.microsoft.com/office/drawing/2014/main" id="{114CCB68-D4A9-4FF5-81EB-A3D9444FB18B}"/>
                      </a:ext>
                    </a:extLst>
                  </p:cNvPr>
                  <p:cNvSpPr>
                    <a:spLocks/>
                  </p:cNvSpPr>
                  <p:nvPr/>
                </p:nvSpPr>
                <p:spPr bwMode="auto">
                  <a:xfrm>
                    <a:off x="2841" y="872"/>
                    <a:ext cx="58"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600">
                      <a:solidFill>
                        <a:srgbClr val="FFFFFF"/>
                      </a:solidFill>
                      <a:latin typeface="Segoe UI"/>
                    </a:endParaRPr>
                  </a:p>
                </p:txBody>
              </p:sp>
            </p:grpSp>
            <p:grpSp>
              <p:nvGrpSpPr>
                <p:cNvPr id="299" name="person" descr="person">
                  <a:extLst>
                    <a:ext uri="{FF2B5EF4-FFF2-40B4-BE49-F238E27FC236}">
                      <a16:creationId xmlns:a16="http://schemas.microsoft.com/office/drawing/2014/main" id="{108FE2FE-85AD-48AA-8532-196B199D59E4}"/>
                    </a:ext>
                  </a:extLst>
                </p:cNvPr>
                <p:cNvGrpSpPr/>
                <p:nvPr/>
              </p:nvGrpSpPr>
              <p:grpSpPr>
                <a:xfrm>
                  <a:off x="9123600" y="4339623"/>
                  <a:ext cx="282796" cy="342220"/>
                  <a:chOff x="5517881" y="3368932"/>
                  <a:chExt cx="233375" cy="282416"/>
                </a:xfrm>
              </p:grpSpPr>
              <p:sp>
                <p:nvSpPr>
                  <p:cNvPr id="300" name="Freeform: Shape 299">
                    <a:extLst>
                      <a:ext uri="{FF2B5EF4-FFF2-40B4-BE49-F238E27FC236}">
                        <a16:creationId xmlns:a16="http://schemas.microsoft.com/office/drawing/2014/main" id="{509E7F51-5031-4E01-A6B3-4BAABC53D048}"/>
                      </a:ext>
                    </a:extLst>
                  </p:cNvPr>
                  <p:cNvSpPr/>
                  <p:nvPr/>
                </p:nvSpPr>
                <p:spPr>
                  <a:xfrm>
                    <a:off x="5570575" y="3368932"/>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defTabSz="914016"/>
                    <a:endParaRPr lang="en-US" sz="1600">
                      <a:solidFill>
                        <a:srgbClr val="FFFFFF"/>
                      </a:solidFill>
                      <a:latin typeface="Segoe UI"/>
                    </a:endParaRPr>
                  </a:p>
                </p:txBody>
              </p:sp>
              <p:sp>
                <p:nvSpPr>
                  <p:cNvPr id="301" name="Freeform: Shape 300">
                    <a:extLst>
                      <a:ext uri="{FF2B5EF4-FFF2-40B4-BE49-F238E27FC236}">
                        <a16:creationId xmlns:a16="http://schemas.microsoft.com/office/drawing/2014/main" id="{ACCFDCB0-53F7-4097-8539-BAA2AD7DA5FC}"/>
                      </a:ext>
                    </a:extLst>
                  </p:cNvPr>
                  <p:cNvSpPr/>
                  <p:nvPr/>
                </p:nvSpPr>
                <p:spPr>
                  <a:xfrm>
                    <a:off x="5517881" y="3519441"/>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defTabSz="914016"/>
                    <a:endParaRPr lang="en-US" sz="1600">
                      <a:solidFill>
                        <a:srgbClr val="FFFFFF"/>
                      </a:solidFill>
                      <a:latin typeface="Segoe UI"/>
                    </a:endParaRPr>
                  </a:p>
                </p:txBody>
              </p:sp>
            </p:grpSp>
          </p:grpSp>
        </p:grpSp>
        <p:grpSp>
          <p:nvGrpSpPr>
            <p:cNvPr id="5" name="Group 4">
              <a:extLst>
                <a:ext uri="{FF2B5EF4-FFF2-40B4-BE49-F238E27FC236}">
                  <a16:creationId xmlns:a16="http://schemas.microsoft.com/office/drawing/2014/main" id="{B060E37D-624D-4625-9F7E-A97FE089B8F3}"/>
                </a:ext>
              </a:extLst>
            </p:cNvPr>
            <p:cNvGrpSpPr/>
            <p:nvPr/>
          </p:nvGrpSpPr>
          <p:grpSpPr>
            <a:xfrm>
              <a:off x="806002" y="3864451"/>
              <a:ext cx="1336418" cy="434153"/>
              <a:chOff x="806002" y="3811434"/>
              <a:chExt cx="1336418" cy="434153"/>
            </a:xfrm>
          </p:grpSpPr>
          <p:sp>
            <p:nvSpPr>
              <p:cNvPr id="211" name="Rectangle 210">
                <a:extLst>
                  <a:ext uri="{FF2B5EF4-FFF2-40B4-BE49-F238E27FC236}">
                    <a16:creationId xmlns:a16="http://schemas.microsoft.com/office/drawing/2014/main" id="{CC8452DC-8EA8-470E-9B7B-91A357F6E50C}"/>
                  </a:ext>
                </a:extLst>
              </p:cNvPr>
              <p:cNvSpPr/>
              <p:nvPr/>
            </p:nvSpPr>
            <p:spPr bwMode="auto">
              <a:xfrm>
                <a:off x="1278664" y="3811434"/>
                <a:ext cx="863756" cy="434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Digital</a:t>
                </a:r>
                <a:br>
                  <a:rPr lang="en-US" sz="1567" b="1" dirty="0">
                    <a:solidFill>
                      <a:schemeClr val="tx1"/>
                    </a:solidFill>
                    <a:latin typeface="Segoe UI Semibold"/>
                  </a:rPr>
                </a:br>
                <a:r>
                  <a:rPr lang="en-US" sz="1567" b="1" dirty="0">
                    <a:solidFill>
                      <a:schemeClr val="tx1"/>
                    </a:solidFill>
                    <a:latin typeface="Segoe UI Semibold"/>
                  </a:rPr>
                  <a:t>resources</a:t>
                </a:r>
              </a:p>
            </p:txBody>
          </p:sp>
          <p:grpSp>
            <p:nvGrpSpPr>
              <p:cNvPr id="4" name="Group 3">
                <a:extLst>
                  <a:ext uri="{FF2B5EF4-FFF2-40B4-BE49-F238E27FC236}">
                    <a16:creationId xmlns:a16="http://schemas.microsoft.com/office/drawing/2014/main" id="{6795FAC2-7542-4009-A3F1-4177BFD5F412}"/>
                  </a:ext>
                </a:extLst>
              </p:cNvPr>
              <p:cNvGrpSpPr/>
              <p:nvPr/>
            </p:nvGrpSpPr>
            <p:grpSpPr>
              <a:xfrm>
                <a:off x="806002" y="3860070"/>
                <a:ext cx="340221" cy="336881"/>
                <a:chOff x="806002" y="3860068"/>
                <a:chExt cx="340221" cy="336881"/>
              </a:xfrm>
            </p:grpSpPr>
            <p:sp>
              <p:nvSpPr>
                <p:cNvPr id="345" name="Freeform 10">
                  <a:extLst>
                    <a:ext uri="{FF2B5EF4-FFF2-40B4-BE49-F238E27FC236}">
                      <a16:creationId xmlns:a16="http://schemas.microsoft.com/office/drawing/2014/main" id="{B7DB1500-9A51-43FC-8A6D-3435C38396DC}"/>
                    </a:ext>
                  </a:extLst>
                </p:cNvPr>
                <p:cNvSpPr>
                  <a:spLocks noEditPoints="1"/>
                </p:cNvSpPr>
                <p:nvPr/>
              </p:nvSpPr>
              <p:spPr bwMode="auto">
                <a:xfrm>
                  <a:off x="809694" y="4044034"/>
                  <a:ext cx="150729" cy="150730"/>
                </a:xfrm>
                <a:custGeom>
                  <a:avLst/>
                  <a:gdLst>
                    <a:gd name="T0" fmla="*/ 81 w 81"/>
                    <a:gd name="T1" fmla="*/ 45 h 81"/>
                    <a:gd name="T2" fmla="*/ 81 w 81"/>
                    <a:gd name="T3" fmla="*/ 36 h 81"/>
                    <a:gd name="T4" fmla="*/ 72 w 81"/>
                    <a:gd name="T5" fmla="*/ 36 h 81"/>
                    <a:gd name="T6" fmla="*/ 66 w 81"/>
                    <a:gd name="T7" fmla="*/ 21 h 81"/>
                    <a:gd name="T8" fmla="*/ 72 w 81"/>
                    <a:gd name="T9" fmla="*/ 15 h 81"/>
                    <a:gd name="T10" fmla="*/ 66 w 81"/>
                    <a:gd name="T11" fmla="*/ 9 h 81"/>
                    <a:gd name="T12" fmla="*/ 60 w 81"/>
                    <a:gd name="T13" fmla="*/ 15 h 81"/>
                    <a:gd name="T14" fmla="*/ 45 w 81"/>
                    <a:gd name="T15" fmla="*/ 9 h 81"/>
                    <a:gd name="T16" fmla="*/ 45 w 81"/>
                    <a:gd name="T17" fmla="*/ 0 h 81"/>
                    <a:gd name="T18" fmla="*/ 36 w 81"/>
                    <a:gd name="T19" fmla="*/ 0 h 81"/>
                    <a:gd name="T20" fmla="*/ 36 w 81"/>
                    <a:gd name="T21" fmla="*/ 9 h 81"/>
                    <a:gd name="T22" fmla="*/ 21 w 81"/>
                    <a:gd name="T23" fmla="*/ 15 h 81"/>
                    <a:gd name="T24" fmla="*/ 15 w 81"/>
                    <a:gd name="T25" fmla="*/ 9 h 81"/>
                    <a:gd name="T26" fmla="*/ 9 w 81"/>
                    <a:gd name="T27" fmla="*/ 15 h 81"/>
                    <a:gd name="T28" fmla="*/ 15 w 81"/>
                    <a:gd name="T29" fmla="*/ 21 h 81"/>
                    <a:gd name="T30" fmla="*/ 9 w 81"/>
                    <a:gd name="T31" fmla="*/ 36 h 81"/>
                    <a:gd name="T32" fmla="*/ 0 w 81"/>
                    <a:gd name="T33" fmla="*/ 36 h 81"/>
                    <a:gd name="T34" fmla="*/ 0 w 81"/>
                    <a:gd name="T35" fmla="*/ 45 h 81"/>
                    <a:gd name="T36" fmla="*/ 9 w 81"/>
                    <a:gd name="T37" fmla="*/ 45 h 81"/>
                    <a:gd name="T38" fmla="*/ 15 w 81"/>
                    <a:gd name="T39" fmla="*/ 60 h 81"/>
                    <a:gd name="T40" fmla="*/ 9 w 81"/>
                    <a:gd name="T41" fmla="*/ 66 h 81"/>
                    <a:gd name="T42" fmla="*/ 15 w 81"/>
                    <a:gd name="T43" fmla="*/ 72 h 81"/>
                    <a:gd name="T44" fmla="*/ 21 w 81"/>
                    <a:gd name="T45" fmla="*/ 66 h 81"/>
                    <a:gd name="T46" fmla="*/ 36 w 81"/>
                    <a:gd name="T47" fmla="*/ 72 h 81"/>
                    <a:gd name="T48" fmla="*/ 36 w 81"/>
                    <a:gd name="T49" fmla="*/ 81 h 81"/>
                    <a:gd name="T50" fmla="*/ 45 w 81"/>
                    <a:gd name="T51" fmla="*/ 81 h 81"/>
                    <a:gd name="T52" fmla="*/ 45 w 81"/>
                    <a:gd name="T53" fmla="*/ 72 h 81"/>
                    <a:gd name="T54" fmla="*/ 60 w 81"/>
                    <a:gd name="T55" fmla="*/ 66 h 81"/>
                    <a:gd name="T56" fmla="*/ 66 w 81"/>
                    <a:gd name="T57" fmla="*/ 72 h 81"/>
                    <a:gd name="T58" fmla="*/ 72 w 81"/>
                    <a:gd name="T59" fmla="*/ 66 h 81"/>
                    <a:gd name="T60" fmla="*/ 66 w 81"/>
                    <a:gd name="T61" fmla="*/ 60 h 81"/>
                    <a:gd name="T62" fmla="*/ 72 w 81"/>
                    <a:gd name="T63" fmla="*/ 45 h 81"/>
                    <a:gd name="T64" fmla="*/ 81 w 81"/>
                    <a:gd name="T65" fmla="*/ 45 h 81"/>
                    <a:gd name="T66" fmla="*/ 40 w 81"/>
                    <a:gd name="T67" fmla="*/ 56 h 81"/>
                    <a:gd name="T68" fmla="*/ 25 w 81"/>
                    <a:gd name="T69" fmla="*/ 41 h 81"/>
                    <a:gd name="T70" fmla="*/ 40 w 81"/>
                    <a:gd name="T71" fmla="*/ 25 h 81"/>
                    <a:gd name="T72" fmla="*/ 56 w 81"/>
                    <a:gd name="T73" fmla="*/ 41 h 81"/>
                    <a:gd name="T74" fmla="*/ 40 w 81"/>
                    <a:gd name="T75"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1">
                      <a:moveTo>
                        <a:pt x="81" y="45"/>
                      </a:moveTo>
                      <a:cubicBezTo>
                        <a:pt x="81" y="36"/>
                        <a:pt x="81" y="36"/>
                        <a:pt x="81" y="36"/>
                      </a:cubicBezTo>
                      <a:cubicBezTo>
                        <a:pt x="72" y="36"/>
                        <a:pt x="72" y="36"/>
                        <a:pt x="72" y="36"/>
                      </a:cubicBezTo>
                      <a:cubicBezTo>
                        <a:pt x="71" y="31"/>
                        <a:pt x="69" y="26"/>
                        <a:pt x="66" y="21"/>
                      </a:cubicBezTo>
                      <a:cubicBezTo>
                        <a:pt x="72" y="15"/>
                        <a:pt x="72" y="15"/>
                        <a:pt x="72" y="15"/>
                      </a:cubicBezTo>
                      <a:cubicBezTo>
                        <a:pt x="66" y="9"/>
                        <a:pt x="66" y="9"/>
                        <a:pt x="66" y="9"/>
                      </a:cubicBezTo>
                      <a:cubicBezTo>
                        <a:pt x="60" y="15"/>
                        <a:pt x="60" y="15"/>
                        <a:pt x="60" y="15"/>
                      </a:cubicBezTo>
                      <a:cubicBezTo>
                        <a:pt x="56" y="12"/>
                        <a:pt x="50" y="10"/>
                        <a:pt x="45" y="9"/>
                      </a:cubicBezTo>
                      <a:cubicBezTo>
                        <a:pt x="45" y="0"/>
                        <a:pt x="45" y="0"/>
                        <a:pt x="45" y="0"/>
                      </a:cubicBezTo>
                      <a:cubicBezTo>
                        <a:pt x="36" y="0"/>
                        <a:pt x="36" y="0"/>
                        <a:pt x="36" y="0"/>
                      </a:cubicBezTo>
                      <a:cubicBezTo>
                        <a:pt x="36" y="9"/>
                        <a:pt x="36" y="9"/>
                        <a:pt x="36" y="9"/>
                      </a:cubicBezTo>
                      <a:cubicBezTo>
                        <a:pt x="31" y="10"/>
                        <a:pt x="25" y="12"/>
                        <a:pt x="21" y="15"/>
                      </a:cubicBezTo>
                      <a:cubicBezTo>
                        <a:pt x="15" y="9"/>
                        <a:pt x="15" y="9"/>
                        <a:pt x="15" y="9"/>
                      </a:cubicBezTo>
                      <a:cubicBezTo>
                        <a:pt x="9" y="15"/>
                        <a:pt x="9" y="15"/>
                        <a:pt x="9" y="15"/>
                      </a:cubicBezTo>
                      <a:cubicBezTo>
                        <a:pt x="15" y="21"/>
                        <a:pt x="15" y="21"/>
                        <a:pt x="15" y="21"/>
                      </a:cubicBezTo>
                      <a:cubicBezTo>
                        <a:pt x="12" y="26"/>
                        <a:pt x="10" y="31"/>
                        <a:pt x="9" y="36"/>
                      </a:cubicBezTo>
                      <a:cubicBezTo>
                        <a:pt x="0" y="36"/>
                        <a:pt x="0" y="36"/>
                        <a:pt x="0" y="36"/>
                      </a:cubicBezTo>
                      <a:cubicBezTo>
                        <a:pt x="0" y="45"/>
                        <a:pt x="0" y="45"/>
                        <a:pt x="0" y="45"/>
                      </a:cubicBezTo>
                      <a:cubicBezTo>
                        <a:pt x="9" y="45"/>
                        <a:pt x="9" y="45"/>
                        <a:pt x="9" y="45"/>
                      </a:cubicBezTo>
                      <a:cubicBezTo>
                        <a:pt x="10" y="50"/>
                        <a:pt x="12" y="56"/>
                        <a:pt x="15" y="60"/>
                      </a:cubicBezTo>
                      <a:cubicBezTo>
                        <a:pt x="9" y="66"/>
                        <a:pt x="9" y="66"/>
                        <a:pt x="9" y="66"/>
                      </a:cubicBezTo>
                      <a:cubicBezTo>
                        <a:pt x="15" y="72"/>
                        <a:pt x="15" y="72"/>
                        <a:pt x="15" y="72"/>
                      </a:cubicBezTo>
                      <a:cubicBezTo>
                        <a:pt x="21" y="66"/>
                        <a:pt x="21" y="66"/>
                        <a:pt x="21" y="66"/>
                      </a:cubicBezTo>
                      <a:cubicBezTo>
                        <a:pt x="25" y="69"/>
                        <a:pt x="31" y="72"/>
                        <a:pt x="36" y="72"/>
                      </a:cubicBezTo>
                      <a:cubicBezTo>
                        <a:pt x="36" y="81"/>
                        <a:pt x="36" y="81"/>
                        <a:pt x="36" y="81"/>
                      </a:cubicBezTo>
                      <a:cubicBezTo>
                        <a:pt x="45" y="81"/>
                        <a:pt x="45" y="81"/>
                        <a:pt x="45" y="81"/>
                      </a:cubicBezTo>
                      <a:cubicBezTo>
                        <a:pt x="45" y="72"/>
                        <a:pt x="45" y="72"/>
                        <a:pt x="45" y="72"/>
                      </a:cubicBezTo>
                      <a:cubicBezTo>
                        <a:pt x="50" y="72"/>
                        <a:pt x="56" y="69"/>
                        <a:pt x="60" y="66"/>
                      </a:cubicBezTo>
                      <a:cubicBezTo>
                        <a:pt x="66" y="72"/>
                        <a:pt x="66" y="72"/>
                        <a:pt x="66" y="72"/>
                      </a:cubicBezTo>
                      <a:cubicBezTo>
                        <a:pt x="72" y="66"/>
                        <a:pt x="72" y="66"/>
                        <a:pt x="72" y="66"/>
                      </a:cubicBezTo>
                      <a:cubicBezTo>
                        <a:pt x="66" y="60"/>
                        <a:pt x="66" y="60"/>
                        <a:pt x="66" y="60"/>
                      </a:cubicBezTo>
                      <a:cubicBezTo>
                        <a:pt x="69" y="56"/>
                        <a:pt x="71" y="50"/>
                        <a:pt x="72" y="45"/>
                      </a:cubicBezTo>
                      <a:lnTo>
                        <a:pt x="81" y="45"/>
                      </a:lnTo>
                      <a:close/>
                      <a:moveTo>
                        <a:pt x="40" y="56"/>
                      </a:moveTo>
                      <a:cubicBezTo>
                        <a:pt x="32" y="56"/>
                        <a:pt x="25" y="49"/>
                        <a:pt x="25" y="41"/>
                      </a:cubicBezTo>
                      <a:cubicBezTo>
                        <a:pt x="25" y="32"/>
                        <a:pt x="32" y="25"/>
                        <a:pt x="40" y="25"/>
                      </a:cubicBezTo>
                      <a:cubicBezTo>
                        <a:pt x="49" y="25"/>
                        <a:pt x="56" y="32"/>
                        <a:pt x="56" y="41"/>
                      </a:cubicBezTo>
                      <a:cubicBezTo>
                        <a:pt x="56" y="49"/>
                        <a:pt x="49" y="56"/>
                        <a:pt x="4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6" name="Freeform 11">
                  <a:extLst>
                    <a:ext uri="{FF2B5EF4-FFF2-40B4-BE49-F238E27FC236}">
                      <a16:creationId xmlns:a16="http://schemas.microsoft.com/office/drawing/2014/main" id="{95F7A3E9-E553-433F-84F5-F93CBBAD6694}"/>
                    </a:ext>
                  </a:extLst>
                </p:cNvPr>
                <p:cNvSpPr>
                  <a:spLocks/>
                </p:cNvSpPr>
                <p:nvPr/>
              </p:nvSpPr>
              <p:spPr bwMode="auto">
                <a:xfrm>
                  <a:off x="995376" y="4046219"/>
                  <a:ext cx="117962" cy="150730"/>
                </a:xfrm>
                <a:custGeom>
                  <a:avLst/>
                  <a:gdLst>
                    <a:gd name="T0" fmla="*/ 54 w 54"/>
                    <a:gd name="T1" fmla="*/ 68 h 69"/>
                    <a:gd name="T2" fmla="*/ 0 w 54"/>
                    <a:gd name="T3" fmla="*/ 69 h 69"/>
                    <a:gd name="T4" fmla="*/ 0 w 54"/>
                    <a:gd name="T5" fmla="*/ 17 h 69"/>
                    <a:gd name="T6" fmla="*/ 10 w 54"/>
                    <a:gd name="T7" fmla="*/ 11 h 69"/>
                    <a:gd name="T8" fmla="*/ 17 w 54"/>
                    <a:gd name="T9" fmla="*/ 0 h 69"/>
                    <a:gd name="T10" fmla="*/ 54 w 54"/>
                    <a:gd name="T11" fmla="*/ 0 h 69"/>
                    <a:gd name="T12" fmla="*/ 54 w 54"/>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54" h="69">
                      <a:moveTo>
                        <a:pt x="54" y="68"/>
                      </a:moveTo>
                      <a:lnTo>
                        <a:pt x="0" y="69"/>
                      </a:lnTo>
                      <a:lnTo>
                        <a:pt x="0" y="17"/>
                      </a:lnTo>
                      <a:lnTo>
                        <a:pt x="10" y="11"/>
                      </a:lnTo>
                      <a:lnTo>
                        <a:pt x="17" y="0"/>
                      </a:lnTo>
                      <a:lnTo>
                        <a:pt x="54" y="0"/>
                      </a:lnTo>
                      <a:lnTo>
                        <a:pt x="54"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7" name="Freeform 12">
                  <a:extLst>
                    <a:ext uri="{FF2B5EF4-FFF2-40B4-BE49-F238E27FC236}">
                      <a16:creationId xmlns:a16="http://schemas.microsoft.com/office/drawing/2014/main" id="{B50D38DD-DCF7-41C1-8D12-0AFCA470E942}"/>
                    </a:ext>
                  </a:extLst>
                </p:cNvPr>
                <p:cNvSpPr>
                  <a:spLocks/>
                </p:cNvSpPr>
                <p:nvPr/>
              </p:nvSpPr>
              <p:spPr bwMode="auto">
                <a:xfrm>
                  <a:off x="997000" y="4046219"/>
                  <a:ext cx="37136" cy="37136"/>
                </a:xfrm>
                <a:custGeom>
                  <a:avLst/>
                  <a:gdLst>
                    <a:gd name="T0" fmla="*/ 17 w 17"/>
                    <a:gd name="T1" fmla="*/ 0 h 17"/>
                    <a:gd name="T2" fmla="*/ 17 w 17"/>
                    <a:gd name="T3" fmla="*/ 17 h 17"/>
                    <a:gd name="T4" fmla="*/ 0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17" y="17"/>
                      </a:lnTo>
                      <a:lnTo>
                        <a:pt x="0" y="17"/>
                      </a:lnTo>
                      <a:lnTo>
                        <a:pt x="1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8" name="Rectangle 13">
                  <a:extLst>
                    <a:ext uri="{FF2B5EF4-FFF2-40B4-BE49-F238E27FC236}">
                      <a16:creationId xmlns:a16="http://schemas.microsoft.com/office/drawing/2014/main" id="{8ABABB09-6D17-457C-8EAE-4F6021341B99}"/>
                    </a:ext>
                  </a:extLst>
                </p:cNvPr>
                <p:cNvSpPr>
                  <a:spLocks noChangeArrowheads="1"/>
                </p:cNvSpPr>
                <p:nvPr/>
              </p:nvSpPr>
              <p:spPr bwMode="auto">
                <a:xfrm>
                  <a:off x="806002" y="3890651"/>
                  <a:ext cx="152914" cy="12014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49" name="Freeform 14">
                  <a:extLst>
                    <a:ext uri="{FF2B5EF4-FFF2-40B4-BE49-F238E27FC236}">
                      <a16:creationId xmlns:a16="http://schemas.microsoft.com/office/drawing/2014/main" id="{1F7485D0-4538-42D7-AC57-078669FE5760}"/>
                    </a:ext>
                  </a:extLst>
                </p:cNvPr>
                <p:cNvSpPr>
                  <a:spLocks/>
                </p:cNvSpPr>
                <p:nvPr/>
              </p:nvSpPr>
              <p:spPr bwMode="auto">
                <a:xfrm>
                  <a:off x="807627" y="3860068"/>
                  <a:ext cx="152914" cy="30583"/>
                </a:xfrm>
                <a:custGeom>
                  <a:avLst/>
                  <a:gdLst>
                    <a:gd name="T0" fmla="*/ 62 w 70"/>
                    <a:gd name="T1" fmla="*/ 7 h 14"/>
                    <a:gd name="T2" fmla="*/ 62 w 70"/>
                    <a:gd name="T3" fmla="*/ 0 h 14"/>
                    <a:gd name="T4" fmla="*/ 51 w 70"/>
                    <a:gd name="T5" fmla="*/ 0 h 14"/>
                    <a:gd name="T6" fmla="*/ 51 w 70"/>
                    <a:gd name="T7" fmla="*/ 7 h 14"/>
                    <a:gd name="T8" fmla="*/ 18 w 70"/>
                    <a:gd name="T9" fmla="*/ 7 h 14"/>
                    <a:gd name="T10" fmla="*/ 18 w 70"/>
                    <a:gd name="T11" fmla="*/ 0 h 14"/>
                    <a:gd name="T12" fmla="*/ 7 w 70"/>
                    <a:gd name="T13" fmla="*/ 0 h 14"/>
                    <a:gd name="T14" fmla="*/ 7 w 70"/>
                    <a:gd name="T15" fmla="*/ 7 h 14"/>
                    <a:gd name="T16" fmla="*/ 0 w 70"/>
                    <a:gd name="T17" fmla="*/ 7 h 14"/>
                    <a:gd name="T18" fmla="*/ 0 w 70"/>
                    <a:gd name="T19" fmla="*/ 14 h 14"/>
                    <a:gd name="T20" fmla="*/ 70 w 70"/>
                    <a:gd name="T21" fmla="*/ 14 h 14"/>
                    <a:gd name="T22" fmla="*/ 70 w 70"/>
                    <a:gd name="T23" fmla="*/ 7 h 14"/>
                    <a:gd name="T24" fmla="*/ 62 w 70"/>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4">
                      <a:moveTo>
                        <a:pt x="62" y="7"/>
                      </a:moveTo>
                      <a:lnTo>
                        <a:pt x="62" y="0"/>
                      </a:lnTo>
                      <a:lnTo>
                        <a:pt x="51" y="0"/>
                      </a:lnTo>
                      <a:lnTo>
                        <a:pt x="51" y="7"/>
                      </a:lnTo>
                      <a:lnTo>
                        <a:pt x="18" y="7"/>
                      </a:lnTo>
                      <a:lnTo>
                        <a:pt x="18" y="0"/>
                      </a:lnTo>
                      <a:lnTo>
                        <a:pt x="7" y="0"/>
                      </a:lnTo>
                      <a:lnTo>
                        <a:pt x="7" y="7"/>
                      </a:lnTo>
                      <a:lnTo>
                        <a:pt x="0" y="7"/>
                      </a:lnTo>
                      <a:lnTo>
                        <a:pt x="0" y="14"/>
                      </a:lnTo>
                      <a:lnTo>
                        <a:pt x="70" y="14"/>
                      </a:lnTo>
                      <a:lnTo>
                        <a:pt x="70" y="7"/>
                      </a:lnTo>
                      <a:lnTo>
                        <a:pt x="62"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0" name="Rectangle 15">
                  <a:extLst>
                    <a:ext uri="{FF2B5EF4-FFF2-40B4-BE49-F238E27FC236}">
                      <a16:creationId xmlns:a16="http://schemas.microsoft.com/office/drawing/2014/main" id="{F50B0ABA-E0D6-4A9E-990E-9623C24F6456}"/>
                    </a:ext>
                  </a:extLst>
                </p:cNvPr>
                <p:cNvSpPr>
                  <a:spLocks noChangeArrowheads="1"/>
                </p:cNvSpPr>
                <p:nvPr/>
              </p:nvSpPr>
              <p:spPr bwMode="auto">
                <a:xfrm>
                  <a:off x="995493" y="3993322"/>
                  <a:ext cx="150730" cy="1747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1" name="Rectangle 16">
                  <a:extLst>
                    <a:ext uri="{FF2B5EF4-FFF2-40B4-BE49-F238E27FC236}">
                      <a16:creationId xmlns:a16="http://schemas.microsoft.com/office/drawing/2014/main" id="{D0CE810C-DE41-490C-82D8-33ACFAC23D08}"/>
                    </a:ext>
                  </a:extLst>
                </p:cNvPr>
                <p:cNvSpPr>
                  <a:spLocks noChangeArrowheads="1"/>
                </p:cNvSpPr>
                <p:nvPr/>
              </p:nvSpPr>
              <p:spPr bwMode="auto">
                <a:xfrm>
                  <a:off x="1061028" y="3978031"/>
                  <a:ext cx="19661" cy="240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2" name="Rectangle 17">
                  <a:extLst>
                    <a:ext uri="{FF2B5EF4-FFF2-40B4-BE49-F238E27FC236}">
                      <a16:creationId xmlns:a16="http://schemas.microsoft.com/office/drawing/2014/main" id="{312FABAD-45E7-4866-BF66-DDDA94F715E8}"/>
                    </a:ext>
                  </a:extLst>
                </p:cNvPr>
                <p:cNvSpPr>
                  <a:spLocks noChangeArrowheads="1"/>
                </p:cNvSpPr>
                <p:nvPr/>
              </p:nvSpPr>
              <p:spPr bwMode="auto">
                <a:xfrm>
                  <a:off x="82291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3" name="Rectangle 18">
                  <a:extLst>
                    <a:ext uri="{FF2B5EF4-FFF2-40B4-BE49-F238E27FC236}">
                      <a16:creationId xmlns:a16="http://schemas.microsoft.com/office/drawing/2014/main" id="{B7776DE1-75E6-448C-B79D-AAE1806B4025}"/>
                    </a:ext>
                  </a:extLst>
                </p:cNvPr>
                <p:cNvSpPr>
                  <a:spLocks noChangeArrowheads="1"/>
                </p:cNvSpPr>
                <p:nvPr/>
              </p:nvSpPr>
              <p:spPr bwMode="auto">
                <a:xfrm>
                  <a:off x="910298" y="3914680"/>
                  <a:ext cx="32767" cy="3276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4" name="Freeform 19">
                  <a:extLst>
                    <a:ext uri="{FF2B5EF4-FFF2-40B4-BE49-F238E27FC236}">
                      <a16:creationId xmlns:a16="http://schemas.microsoft.com/office/drawing/2014/main" id="{A28569CE-6A41-49A7-80D8-C4CE8DAAD9A8}"/>
                    </a:ext>
                  </a:extLst>
                </p:cNvPr>
                <p:cNvSpPr>
                  <a:spLocks/>
                </p:cNvSpPr>
                <p:nvPr/>
              </p:nvSpPr>
              <p:spPr bwMode="auto">
                <a:xfrm>
                  <a:off x="868792" y="3914680"/>
                  <a:ext cx="30583" cy="32767"/>
                </a:xfrm>
                <a:custGeom>
                  <a:avLst/>
                  <a:gdLst>
                    <a:gd name="T0" fmla="*/ 14 w 14"/>
                    <a:gd name="T1" fmla="*/ 0 h 15"/>
                    <a:gd name="T2" fmla="*/ 0 w 14"/>
                    <a:gd name="T3" fmla="*/ 0 h 15"/>
                    <a:gd name="T4" fmla="*/ 0 w 14"/>
                    <a:gd name="T5" fmla="*/ 15 h 15"/>
                    <a:gd name="T6" fmla="*/ 14 w 14"/>
                    <a:gd name="T7" fmla="*/ 15 h 15"/>
                    <a:gd name="T8" fmla="*/ 14 w 14"/>
                    <a:gd name="T9" fmla="*/ 0 h 15"/>
                    <a:gd name="T10" fmla="*/ 14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14" y="0"/>
                      </a:moveTo>
                      <a:lnTo>
                        <a:pt x="0" y="0"/>
                      </a:lnTo>
                      <a:lnTo>
                        <a:pt x="0" y="15"/>
                      </a:lnTo>
                      <a:lnTo>
                        <a:pt x="14" y="15"/>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5" name="Rectangle 20">
                  <a:extLst>
                    <a:ext uri="{FF2B5EF4-FFF2-40B4-BE49-F238E27FC236}">
                      <a16:creationId xmlns:a16="http://schemas.microsoft.com/office/drawing/2014/main" id="{5EECC565-D9AE-430D-A9D9-1AF77887FDD6}"/>
                    </a:ext>
                  </a:extLst>
                </p:cNvPr>
                <p:cNvSpPr>
                  <a:spLocks noChangeArrowheads="1"/>
                </p:cNvSpPr>
                <p:nvPr/>
              </p:nvSpPr>
              <p:spPr bwMode="auto">
                <a:xfrm>
                  <a:off x="82291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6" name="Rectangle 21">
                  <a:extLst>
                    <a:ext uri="{FF2B5EF4-FFF2-40B4-BE49-F238E27FC236}">
                      <a16:creationId xmlns:a16="http://schemas.microsoft.com/office/drawing/2014/main" id="{8FEF3452-429C-466A-B61F-931CB79C1B98}"/>
                    </a:ext>
                  </a:extLst>
                </p:cNvPr>
                <p:cNvSpPr>
                  <a:spLocks noChangeArrowheads="1"/>
                </p:cNvSpPr>
                <p:nvPr/>
              </p:nvSpPr>
              <p:spPr bwMode="auto">
                <a:xfrm>
                  <a:off x="910298" y="3962739"/>
                  <a:ext cx="32767" cy="30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7" name="Freeform 22">
                  <a:extLst>
                    <a:ext uri="{FF2B5EF4-FFF2-40B4-BE49-F238E27FC236}">
                      <a16:creationId xmlns:a16="http://schemas.microsoft.com/office/drawing/2014/main" id="{3094FFE7-1375-4663-A956-5D06C60B5E91}"/>
                    </a:ext>
                  </a:extLst>
                </p:cNvPr>
                <p:cNvSpPr>
                  <a:spLocks/>
                </p:cNvSpPr>
                <p:nvPr/>
              </p:nvSpPr>
              <p:spPr bwMode="auto">
                <a:xfrm>
                  <a:off x="868792" y="3962739"/>
                  <a:ext cx="30583" cy="30583"/>
                </a:xfrm>
                <a:custGeom>
                  <a:avLst/>
                  <a:gdLst>
                    <a:gd name="T0" fmla="*/ 14 w 14"/>
                    <a:gd name="T1" fmla="*/ 0 h 14"/>
                    <a:gd name="T2" fmla="*/ 0 w 14"/>
                    <a:gd name="T3" fmla="*/ 0 h 14"/>
                    <a:gd name="T4" fmla="*/ 0 w 14"/>
                    <a:gd name="T5" fmla="*/ 14 h 14"/>
                    <a:gd name="T6" fmla="*/ 14 w 14"/>
                    <a:gd name="T7" fmla="*/ 14 h 14"/>
                    <a:gd name="T8" fmla="*/ 14 w 14"/>
                    <a:gd name="T9" fmla="*/ 0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lnTo>
                        <a:pt x="0" y="0"/>
                      </a:lnTo>
                      <a:lnTo>
                        <a:pt x="0" y="14"/>
                      </a:lnTo>
                      <a:lnTo>
                        <a:pt x="14" y="14"/>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8" name="Rectangle 23">
                  <a:extLst>
                    <a:ext uri="{FF2B5EF4-FFF2-40B4-BE49-F238E27FC236}">
                      <a16:creationId xmlns:a16="http://schemas.microsoft.com/office/drawing/2014/main" id="{213796F4-8E74-455A-BD85-4D6D240C98F0}"/>
                    </a:ext>
                  </a:extLst>
                </p:cNvPr>
                <p:cNvSpPr>
                  <a:spLocks noChangeArrowheads="1"/>
                </p:cNvSpPr>
                <p:nvPr/>
              </p:nvSpPr>
              <p:spPr bwMode="auto">
                <a:xfrm>
                  <a:off x="995493" y="3860068"/>
                  <a:ext cx="150730" cy="1179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59" name="Rectangle 24">
                  <a:extLst>
                    <a:ext uri="{FF2B5EF4-FFF2-40B4-BE49-F238E27FC236}">
                      <a16:creationId xmlns:a16="http://schemas.microsoft.com/office/drawing/2014/main" id="{7F82619B-C0C1-44F0-A856-E8990E8EF0A1}"/>
                    </a:ext>
                  </a:extLst>
                </p:cNvPr>
                <p:cNvSpPr>
                  <a:spLocks noChangeArrowheads="1"/>
                </p:cNvSpPr>
                <p:nvPr/>
              </p:nvSpPr>
              <p:spPr bwMode="auto">
                <a:xfrm>
                  <a:off x="1010785" y="3875361"/>
                  <a:ext cx="117962" cy="895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sp>
              <p:nvSpPr>
                <p:cNvPr id="360" name="Freeform 25">
                  <a:extLst>
                    <a:ext uri="{FF2B5EF4-FFF2-40B4-BE49-F238E27FC236}">
                      <a16:creationId xmlns:a16="http://schemas.microsoft.com/office/drawing/2014/main" id="{9606EE6D-75F7-4DCC-8C50-B3DD77A0E9AC}"/>
                    </a:ext>
                  </a:extLst>
                </p:cNvPr>
                <p:cNvSpPr>
                  <a:spLocks noEditPoints="1"/>
                </p:cNvSpPr>
                <p:nvPr/>
              </p:nvSpPr>
              <p:spPr bwMode="auto">
                <a:xfrm>
                  <a:off x="993870" y="3860068"/>
                  <a:ext cx="150729" cy="117963"/>
                </a:xfrm>
                <a:custGeom>
                  <a:avLst/>
                  <a:gdLst>
                    <a:gd name="T0" fmla="*/ 0 w 69"/>
                    <a:gd name="T1" fmla="*/ 0 h 54"/>
                    <a:gd name="T2" fmla="*/ 0 w 69"/>
                    <a:gd name="T3" fmla="*/ 54 h 54"/>
                    <a:gd name="T4" fmla="*/ 69 w 69"/>
                    <a:gd name="T5" fmla="*/ 54 h 54"/>
                    <a:gd name="T6" fmla="*/ 69 w 69"/>
                    <a:gd name="T7" fmla="*/ 0 h 54"/>
                    <a:gd name="T8" fmla="*/ 0 w 69"/>
                    <a:gd name="T9" fmla="*/ 0 h 54"/>
                    <a:gd name="T10" fmla="*/ 61 w 69"/>
                    <a:gd name="T11" fmla="*/ 48 h 54"/>
                    <a:gd name="T12" fmla="*/ 7 w 69"/>
                    <a:gd name="T13" fmla="*/ 48 h 54"/>
                    <a:gd name="T14" fmla="*/ 7 w 69"/>
                    <a:gd name="T15" fmla="*/ 7 h 54"/>
                    <a:gd name="T16" fmla="*/ 61 w 69"/>
                    <a:gd name="T17" fmla="*/ 7 h 54"/>
                    <a:gd name="T18" fmla="*/ 61 w 69"/>
                    <a:gd name="T1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54">
                      <a:moveTo>
                        <a:pt x="0" y="0"/>
                      </a:moveTo>
                      <a:lnTo>
                        <a:pt x="0" y="54"/>
                      </a:lnTo>
                      <a:lnTo>
                        <a:pt x="69" y="54"/>
                      </a:lnTo>
                      <a:lnTo>
                        <a:pt x="69" y="0"/>
                      </a:lnTo>
                      <a:lnTo>
                        <a:pt x="0" y="0"/>
                      </a:lnTo>
                      <a:close/>
                      <a:moveTo>
                        <a:pt x="61" y="48"/>
                      </a:moveTo>
                      <a:lnTo>
                        <a:pt x="7" y="48"/>
                      </a:lnTo>
                      <a:lnTo>
                        <a:pt x="7" y="7"/>
                      </a:lnTo>
                      <a:lnTo>
                        <a:pt x="61" y="7"/>
                      </a:lnTo>
                      <a:lnTo>
                        <a:pt x="61" y="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16"/>
                  <a:endParaRPr lang="en-US" sz="1730">
                    <a:solidFill>
                      <a:srgbClr val="FFFFFF"/>
                    </a:solidFill>
                    <a:latin typeface="Segoe UI"/>
                  </a:endParaRPr>
                </a:p>
              </p:txBody>
            </p:sp>
          </p:grpSp>
        </p:grpSp>
        <p:grpSp>
          <p:nvGrpSpPr>
            <p:cNvPr id="6" name="Group 5">
              <a:extLst>
                <a:ext uri="{FF2B5EF4-FFF2-40B4-BE49-F238E27FC236}">
                  <a16:creationId xmlns:a16="http://schemas.microsoft.com/office/drawing/2014/main" id="{E8A36555-D3CA-4EC3-A525-75BADBBFFC4A}"/>
                </a:ext>
              </a:extLst>
            </p:cNvPr>
            <p:cNvGrpSpPr/>
            <p:nvPr/>
          </p:nvGrpSpPr>
          <p:grpSpPr>
            <a:xfrm>
              <a:off x="2772060" y="3851791"/>
              <a:ext cx="1496851" cy="457865"/>
              <a:chOff x="3539799" y="4011862"/>
              <a:chExt cx="1496851" cy="457865"/>
            </a:xfrm>
          </p:grpSpPr>
          <p:grpSp>
            <p:nvGrpSpPr>
              <p:cNvPr id="120" name="Graphic 247" descr="engineer, assistance">
                <a:extLst>
                  <a:ext uri="{FF2B5EF4-FFF2-40B4-BE49-F238E27FC236}">
                    <a16:creationId xmlns:a16="http://schemas.microsoft.com/office/drawing/2014/main" id="{7C03D916-CBE6-4D62-9F0E-C6E5C6DE0E4F}"/>
                  </a:ext>
                </a:extLst>
              </p:cNvPr>
              <p:cNvGrpSpPr/>
              <p:nvPr/>
            </p:nvGrpSpPr>
            <p:grpSpPr>
              <a:xfrm>
                <a:off x="3539799" y="4011862"/>
                <a:ext cx="390508" cy="393216"/>
                <a:chOff x="6337562" y="5744951"/>
                <a:chExt cx="435026" cy="435024"/>
              </a:xfrm>
            </p:grpSpPr>
            <p:sp>
              <p:nvSpPr>
                <p:cNvPr id="121" name="Freeform: Shape 120">
                  <a:extLst>
                    <a:ext uri="{FF2B5EF4-FFF2-40B4-BE49-F238E27FC236}">
                      <a16:creationId xmlns:a16="http://schemas.microsoft.com/office/drawing/2014/main" id="{E8BE784A-5EA1-4834-863F-D2DB619D6AFE}"/>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defTabSz="914049">
                    <a:defRPr/>
                  </a:pPr>
                  <a:endParaRPr lang="en-US" sz="1800">
                    <a:solidFill>
                      <a:prstClr val="black"/>
                    </a:solidFill>
                    <a:latin typeface="Segoe UI Semibold"/>
                  </a:endParaRPr>
                </a:p>
              </p:txBody>
            </p:sp>
            <p:sp>
              <p:nvSpPr>
                <p:cNvPr id="122" name="Freeform: Shape 121">
                  <a:extLst>
                    <a:ext uri="{FF2B5EF4-FFF2-40B4-BE49-F238E27FC236}">
                      <a16:creationId xmlns:a16="http://schemas.microsoft.com/office/drawing/2014/main" id="{69B1A8F9-230C-4649-8327-5B6E21DE1F74}"/>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defTabSz="914049">
                    <a:defRPr/>
                  </a:pPr>
                  <a:endParaRPr lang="en-US" sz="1800">
                    <a:solidFill>
                      <a:prstClr val="black"/>
                    </a:solidFill>
                    <a:latin typeface="Segoe UI Semibold"/>
                  </a:endParaRPr>
                </a:p>
              </p:txBody>
            </p:sp>
          </p:grpSp>
          <p:sp>
            <p:nvSpPr>
              <p:cNvPr id="123" name="Rectangle 122">
                <a:extLst>
                  <a:ext uri="{FF2B5EF4-FFF2-40B4-BE49-F238E27FC236}">
                    <a16:creationId xmlns:a16="http://schemas.microsoft.com/office/drawing/2014/main" id="{4C1E83FC-7391-4E68-BD95-201F67DCF1E3}"/>
                  </a:ext>
                </a:extLst>
              </p:cNvPr>
              <p:cNvSpPr/>
              <p:nvPr/>
            </p:nvSpPr>
            <p:spPr bwMode="auto">
              <a:xfrm>
                <a:off x="4135634" y="4035574"/>
                <a:ext cx="901016" cy="4341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114" fontAlgn="base">
                  <a:lnSpc>
                    <a:spcPct val="90000"/>
                  </a:lnSpc>
                  <a:spcBef>
                    <a:spcPct val="0"/>
                  </a:spcBef>
                  <a:spcAft>
                    <a:spcPct val="0"/>
                  </a:spcAft>
                </a:pPr>
                <a:r>
                  <a:rPr lang="en-US" sz="1567" b="1" dirty="0">
                    <a:solidFill>
                      <a:schemeClr val="tx1"/>
                    </a:solidFill>
                    <a:latin typeface="Segoe UI Semibold"/>
                  </a:rPr>
                  <a:t>Migration</a:t>
                </a:r>
              </a:p>
              <a:p>
                <a:pPr defTabSz="932114" fontAlgn="base">
                  <a:lnSpc>
                    <a:spcPct val="90000"/>
                  </a:lnSpc>
                  <a:spcBef>
                    <a:spcPct val="0"/>
                  </a:spcBef>
                  <a:spcAft>
                    <a:spcPct val="0"/>
                  </a:spcAft>
                </a:pPr>
                <a:r>
                  <a:rPr lang="en-US" sz="1567" b="1" dirty="0">
                    <a:solidFill>
                      <a:schemeClr val="tx1"/>
                    </a:solidFill>
                    <a:latin typeface="Segoe UI Semibold"/>
                  </a:rPr>
                  <a:t>Tools</a:t>
                </a:r>
              </a:p>
            </p:txBody>
          </p:sp>
        </p:grpSp>
      </p:grpSp>
      <p:sp>
        <p:nvSpPr>
          <p:cNvPr id="13" name="Rectangle 12">
            <a:extLst>
              <a:ext uri="{FF2B5EF4-FFF2-40B4-BE49-F238E27FC236}">
                <a16:creationId xmlns:a16="http://schemas.microsoft.com/office/drawing/2014/main" id="{622F12E6-1453-427A-8606-0C3EAB73905E}"/>
              </a:ext>
            </a:extLst>
          </p:cNvPr>
          <p:cNvSpPr/>
          <p:nvPr/>
        </p:nvSpPr>
        <p:spPr>
          <a:xfrm>
            <a:off x="254249" y="6107456"/>
            <a:ext cx="11780089" cy="590931"/>
          </a:xfrm>
          <a:prstGeom prst="rect">
            <a:avLst/>
          </a:prstGeom>
        </p:spPr>
        <p:txBody>
          <a:bodyPr wrap="square">
            <a:spAutoFit/>
          </a:bodyPr>
          <a:lstStyle/>
          <a:p>
            <a:pPr>
              <a:lnSpc>
                <a:spcPct val="90000"/>
              </a:lnSpc>
              <a:spcAft>
                <a:spcPts val="600"/>
              </a:spcAft>
            </a:pPr>
            <a:r>
              <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8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8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51272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0 1.48148E-6 L 0 0.01898 " pathEditMode="relative" rAng="0" ptsTypes="AA">
                                      <p:cBhvr>
                                        <p:cTn id="14" dur="700" spd="-100000" fill="hold"/>
                                        <p:tgtEl>
                                          <p:spTgt spid="11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E8656-8EEC-49DC-8AF4-A156D92A3318}"/>
              </a:ext>
            </a:extLst>
          </p:cNvPr>
          <p:cNvSpPr>
            <a:spLocks noGrp="1"/>
          </p:cNvSpPr>
          <p:nvPr>
            <p:ph type="title"/>
          </p:nvPr>
        </p:nvSpPr>
        <p:spPr/>
        <p:txBody>
          <a:bodyPr/>
          <a:lstStyle/>
          <a:p>
            <a:r>
              <a:rPr lang="en-US"/>
              <a:t>Best practice example:  Building a cloud business case</a:t>
            </a:r>
          </a:p>
        </p:txBody>
      </p:sp>
      <p:pic>
        <p:nvPicPr>
          <p:cNvPr id="4" name="Picture 3">
            <a:extLst>
              <a:ext uri="{FF2B5EF4-FFF2-40B4-BE49-F238E27FC236}">
                <a16:creationId xmlns:a16="http://schemas.microsoft.com/office/drawing/2014/main" id="{093E286E-7F76-4C4C-869C-C5DAB3B75E71}"/>
              </a:ext>
            </a:extLst>
          </p:cNvPr>
          <p:cNvPicPr>
            <a:picLocks noChangeAspect="1"/>
          </p:cNvPicPr>
          <p:nvPr/>
        </p:nvPicPr>
        <p:blipFill>
          <a:blip r:embed="rId3"/>
          <a:stretch>
            <a:fillRect/>
          </a:stretch>
        </p:blipFill>
        <p:spPr>
          <a:xfrm>
            <a:off x="4448982" y="1548809"/>
            <a:ext cx="3704471" cy="2593422"/>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4C41B592-C6DE-47EB-AAB4-264D84AA1E4C}"/>
              </a:ext>
            </a:extLst>
          </p:cNvPr>
          <p:cNvSpPr txBox="1"/>
          <p:nvPr/>
        </p:nvSpPr>
        <p:spPr>
          <a:xfrm>
            <a:off x="4261407" y="4822123"/>
            <a:ext cx="4467776" cy="1788144"/>
          </a:xfrm>
          <a:prstGeom prst="rect">
            <a:avLst/>
          </a:prstGeom>
          <a:noFill/>
        </p:spPr>
        <p:txBody>
          <a:bodyPr wrap="square" lIns="179285" tIns="143428" rIns="179285" bIns="143428" rtlCol="0">
            <a:spAutoFit/>
          </a:bodyPr>
          <a:lstStyle/>
          <a:p>
            <a:pPr>
              <a:lnSpc>
                <a:spcPct val="90000"/>
              </a:lnSpc>
              <a:spcAft>
                <a:spcPts val="588"/>
              </a:spcAft>
            </a:pPr>
            <a:r>
              <a:rPr lang="en-US" sz="2000" b="1" spc="-20">
                <a:ln w="3175">
                  <a:noFill/>
                </a:ln>
                <a:solidFill>
                  <a:schemeClr val="accent1"/>
                </a:solidFill>
                <a:latin typeface="Segoe UI Semibold"/>
                <a:cs typeface="Segoe UI" pitchFamily="34" charset="0"/>
              </a:rPr>
              <a:t>Azure Pricing Calculator</a:t>
            </a:r>
          </a:p>
          <a:p>
            <a:pPr>
              <a:lnSpc>
                <a:spcPct val="90000"/>
              </a:lnSpc>
              <a:spcAft>
                <a:spcPts val="588"/>
              </a:spcAft>
            </a:pPr>
            <a:r>
              <a:rPr lang="en-US" sz="1600">
                <a:gradFill>
                  <a:gsLst>
                    <a:gs pos="2917">
                      <a:schemeClr val="tx1"/>
                    </a:gs>
                    <a:gs pos="30000">
                      <a:schemeClr val="tx1"/>
                    </a:gs>
                  </a:gsLst>
                  <a:lin ang="5400000" scaled="0"/>
                </a:gradFill>
              </a:rPr>
              <a:t>Configure and estimate costs for Azure products</a:t>
            </a:r>
          </a:p>
          <a:p>
            <a:pPr>
              <a:lnSpc>
                <a:spcPct val="90000"/>
              </a:lnSpc>
              <a:spcAft>
                <a:spcPts val="588"/>
              </a:spcAft>
            </a:pPr>
            <a:r>
              <a:rPr lang="en-US" sz="1600" b="1">
                <a:solidFill>
                  <a:schemeClr val="accent3"/>
                </a:solidFill>
              </a:rPr>
              <a:t>azure.com/pricing/calculator</a:t>
            </a:r>
          </a:p>
          <a:p>
            <a:pPr>
              <a:lnSpc>
                <a:spcPct val="90000"/>
              </a:lnSpc>
              <a:spcAft>
                <a:spcPts val="588"/>
              </a:spcAft>
            </a:pPr>
            <a:endParaRPr lang="en-US" sz="2353">
              <a:gradFill>
                <a:gsLst>
                  <a:gs pos="2917">
                    <a:schemeClr val="tx1"/>
                  </a:gs>
                  <a:gs pos="30000">
                    <a:schemeClr val="tx1"/>
                  </a:gs>
                </a:gsLst>
                <a:lin ang="5400000" scaled="0"/>
              </a:gradFill>
            </a:endParaRPr>
          </a:p>
        </p:txBody>
      </p:sp>
      <p:sp>
        <p:nvSpPr>
          <p:cNvPr id="36" name="TextBox 35">
            <a:extLst>
              <a:ext uri="{FF2B5EF4-FFF2-40B4-BE49-F238E27FC236}">
                <a16:creationId xmlns:a16="http://schemas.microsoft.com/office/drawing/2014/main" id="{FF321079-F7F0-416A-A7C2-D7262E29B5E6}"/>
              </a:ext>
            </a:extLst>
          </p:cNvPr>
          <p:cNvSpPr txBox="1"/>
          <p:nvPr/>
        </p:nvSpPr>
        <p:spPr>
          <a:xfrm>
            <a:off x="401046" y="4822123"/>
            <a:ext cx="3789954" cy="883218"/>
          </a:xfrm>
          <a:prstGeom prst="rect">
            <a:avLst/>
          </a:prstGeom>
          <a:noFill/>
        </p:spPr>
        <p:txBody>
          <a:bodyPr wrap="square" lIns="179285" tIns="143428" rIns="179285" bIns="143428" rtlCol="0">
            <a:spAutoFit/>
          </a:bodyPr>
          <a:lstStyle/>
          <a:p>
            <a:pPr>
              <a:lnSpc>
                <a:spcPct val="90000"/>
              </a:lnSpc>
              <a:spcAft>
                <a:spcPts val="588"/>
              </a:spcAft>
            </a:pPr>
            <a:r>
              <a:rPr lang="en-US" sz="2000" b="1" spc="-20">
                <a:ln w="3175">
                  <a:noFill/>
                </a:ln>
                <a:solidFill>
                  <a:schemeClr val="accent1"/>
                </a:solidFill>
                <a:latin typeface="Segoe UI Semibold"/>
                <a:cs typeface="Segoe UI" pitchFamily="34" charset="0"/>
              </a:rPr>
              <a:t>Gather Inventory</a:t>
            </a:r>
          </a:p>
          <a:p>
            <a:pPr>
              <a:lnSpc>
                <a:spcPct val="90000"/>
              </a:lnSpc>
              <a:spcAft>
                <a:spcPts val="588"/>
              </a:spcAft>
            </a:pPr>
            <a:r>
              <a:rPr lang="en-US" sz="1600">
                <a:gradFill>
                  <a:gsLst>
                    <a:gs pos="2917">
                      <a:schemeClr val="tx1"/>
                    </a:gs>
                    <a:gs pos="30000">
                      <a:schemeClr val="tx1"/>
                    </a:gs>
                  </a:gsLst>
                  <a:lin ang="5400000" scaled="0"/>
                </a:gradFill>
              </a:rPr>
              <a:t>Azure Migrate or Partner Tools</a:t>
            </a:r>
          </a:p>
        </p:txBody>
      </p:sp>
      <p:pic>
        <p:nvPicPr>
          <p:cNvPr id="39" name="Picture 38">
            <a:extLst>
              <a:ext uri="{FF2B5EF4-FFF2-40B4-BE49-F238E27FC236}">
                <a16:creationId xmlns:a16="http://schemas.microsoft.com/office/drawing/2014/main" id="{11F650FA-25E6-4D6D-B452-9A9B302EE3BE}"/>
              </a:ext>
            </a:extLst>
          </p:cNvPr>
          <p:cNvPicPr>
            <a:picLocks noChangeAspect="1"/>
          </p:cNvPicPr>
          <p:nvPr/>
        </p:nvPicPr>
        <p:blipFill>
          <a:blip r:embed="rId4"/>
          <a:stretch>
            <a:fillRect/>
          </a:stretch>
        </p:blipFill>
        <p:spPr>
          <a:xfrm>
            <a:off x="8767978" y="1548809"/>
            <a:ext cx="3022976" cy="3019925"/>
          </a:xfrm>
          <a:prstGeom prst="rect">
            <a:avLst/>
          </a:prstGeom>
          <a:ln>
            <a:noFill/>
          </a:ln>
          <a:effectLst>
            <a:outerShdw blurRad="292100" dist="139700" dir="2700000" algn="tl" rotWithShape="0">
              <a:srgbClr val="333333">
                <a:alpha val="65000"/>
              </a:srgbClr>
            </a:outerShdw>
          </a:effectLst>
        </p:spPr>
      </p:pic>
      <p:sp>
        <p:nvSpPr>
          <p:cNvPr id="40" name="TextBox 39">
            <a:extLst>
              <a:ext uri="{FF2B5EF4-FFF2-40B4-BE49-F238E27FC236}">
                <a16:creationId xmlns:a16="http://schemas.microsoft.com/office/drawing/2014/main" id="{43332A9E-D60C-4C25-A0A3-20C6AE97C732}"/>
              </a:ext>
            </a:extLst>
          </p:cNvPr>
          <p:cNvSpPr txBox="1"/>
          <p:nvPr/>
        </p:nvSpPr>
        <p:spPr>
          <a:xfrm>
            <a:off x="8518562" y="4822123"/>
            <a:ext cx="3673438" cy="1566545"/>
          </a:xfrm>
          <a:prstGeom prst="rect">
            <a:avLst/>
          </a:prstGeom>
          <a:noFill/>
        </p:spPr>
        <p:txBody>
          <a:bodyPr wrap="square" lIns="179285" tIns="143428" rIns="179285" bIns="143428" rtlCol="0">
            <a:spAutoFit/>
          </a:bodyPr>
          <a:lstStyle/>
          <a:p>
            <a:pPr>
              <a:lnSpc>
                <a:spcPct val="90000"/>
              </a:lnSpc>
              <a:spcAft>
                <a:spcPts val="588"/>
              </a:spcAft>
            </a:pPr>
            <a:r>
              <a:rPr lang="en-US" sz="2000" b="1" spc="-20">
                <a:ln w="3175">
                  <a:noFill/>
                </a:ln>
                <a:solidFill>
                  <a:schemeClr val="accent1"/>
                </a:solidFill>
                <a:latin typeface="Segoe UI Semibold"/>
                <a:cs typeface="Segoe UI" pitchFamily="34" charset="0"/>
              </a:rPr>
              <a:t>Azure TCO Calculator</a:t>
            </a:r>
          </a:p>
          <a:p>
            <a:pPr>
              <a:lnSpc>
                <a:spcPct val="90000"/>
              </a:lnSpc>
              <a:spcAft>
                <a:spcPts val="588"/>
              </a:spcAft>
            </a:pPr>
            <a:r>
              <a:rPr lang="en-US" sz="1600">
                <a:gradFill>
                  <a:gsLst>
                    <a:gs pos="2917">
                      <a:schemeClr val="tx1"/>
                    </a:gs>
                    <a:gs pos="30000">
                      <a:schemeClr val="tx1"/>
                    </a:gs>
                  </a:gsLst>
                  <a:lin ang="5400000" scaled="0"/>
                </a:gradFill>
              </a:rPr>
              <a:t>Estimate on-premises costs vs. Azure</a:t>
            </a:r>
          </a:p>
          <a:p>
            <a:pPr>
              <a:lnSpc>
                <a:spcPct val="90000"/>
              </a:lnSpc>
              <a:spcAft>
                <a:spcPts val="588"/>
              </a:spcAft>
            </a:pPr>
            <a:r>
              <a:rPr lang="en-US" sz="1600" b="1">
                <a:solidFill>
                  <a:schemeClr val="accent3"/>
                </a:solidFill>
              </a:rPr>
              <a:t>azure.com/</a:t>
            </a:r>
            <a:r>
              <a:rPr lang="en-US" sz="1600" b="1" err="1">
                <a:solidFill>
                  <a:schemeClr val="accent3"/>
                </a:solidFill>
              </a:rPr>
              <a:t>tco</a:t>
            </a:r>
            <a:endParaRPr lang="en-US" sz="1600" b="1">
              <a:solidFill>
                <a:schemeClr val="accent3"/>
              </a:solidFill>
            </a:endParaRPr>
          </a:p>
          <a:p>
            <a:pPr>
              <a:lnSpc>
                <a:spcPct val="90000"/>
              </a:lnSpc>
              <a:spcAft>
                <a:spcPts val="588"/>
              </a:spcAft>
            </a:pPr>
            <a:endParaRPr lang="en-US" sz="2353">
              <a:gradFill>
                <a:gsLst>
                  <a:gs pos="2917">
                    <a:schemeClr val="tx1"/>
                  </a:gs>
                  <a:gs pos="30000">
                    <a:schemeClr val="tx1"/>
                  </a:gs>
                </a:gsLst>
                <a:lin ang="5400000" scaled="0"/>
              </a:gradFill>
            </a:endParaRPr>
          </a:p>
        </p:txBody>
      </p:sp>
      <p:pic>
        <p:nvPicPr>
          <p:cNvPr id="38" name="Picture 37">
            <a:extLst>
              <a:ext uri="{FF2B5EF4-FFF2-40B4-BE49-F238E27FC236}">
                <a16:creationId xmlns:a16="http://schemas.microsoft.com/office/drawing/2014/main" id="{6649234F-1998-4309-95BF-B807FA0BDEF6}"/>
              </a:ext>
            </a:extLst>
          </p:cNvPr>
          <p:cNvPicPr>
            <a:picLocks noChangeAspect="1"/>
          </p:cNvPicPr>
          <p:nvPr/>
        </p:nvPicPr>
        <p:blipFill>
          <a:blip r:embed="rId5"/>
          <a:stretch>
            <a:fillRect/>
          </a:stretch>
        </p:blipFill>
        <p:spPr>
          <a:xfrm>
            <a:off x="401046" y="1548809"/>
            <a:ext cx="3216974" cy="2812776"/>
          </a:xfrm>
          <a:prstGeom prst="rect">
            <a:avLst/>
          </a:prstGeom>
          <a:effectLst>
            <a:outerShdw blurRad="292100" dist="139700" dir="2700000" algn="ctr" rotWithShape="0">
              <a:schemeClr val="tx1">
                <a:alpha val="65000"/>
              </a:schemeClr>
            </a:outerShdw>
          </a:effectLst>
        </p:spPr>
      </p:pic>
      <p:sp>
        <p:nvSpPr>
          <p:cNvPr id="42" name="Arrow: Chevron 41">
            <a:extLst>
              <a:ext uri="{FF2B5EF4-FFF2-40B4-BE49-F238E27FC236}">
                <a16:creationId xmlns:a16="http://schemas.microsoft.com/office/drawing/2014/main" id="{1A44DD7E-8A7A-426D-A9D9-EF5DF0E20D7B}"/>
              </a:ext>
            </a:extLst>
          </p:cNvPr>
          <p:cNvSpPr/>
          <p:nvPr/>
        </p:nvSpPr>
        <p:spPr bwMode="auto">
          <a:xfrm>
            <a:off x="3998538" y="2838867"/>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3" name="Arrow: Chevron 42">
            <a:extLst>
              <a:ext uri="{FF2B5EF4-FFF2-40B4-BE49-F238E27FC236}">
                <a16:creationId xmlns:a16="http://schemas.microsoft.com/office/drawing/2014/main" id="{C9C07017-8365-45D9-9B2E-48F334033706}"/>
              </a:ext>
            </a:extLst>
          </p:cNvPr>
          <p:cNvSpPr/>
          <p:nvPr/>
        </p:nvSpPr>
        <p:spPr bwMode="auto">
          <a:xfrm>
            <a:off x="8327740" y="2757319"/>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1" name="TextBox 10">
            <a:extLst>
              <a:ext uri="{FF2B5EF4-FFF2-40B4-BE49-F238E27FC236}">
                <a16:creationId xmlns:a16="http://schemas.microsoft.com/office/drawing/2014/main" id="{060EFD4F-9BD3-4A4D-922D-68959BB9640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532432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wipe(left)">
                                      <p:cBhvr>
                                        <p:cTn id="10" dur="500"/>
                                        <p:tgtEl>
                                          <p:spTgt spid="3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wipe(left)">
                                      <p:cBhvr>
                                        <p:cTn id="15" dur="500"/>
                                        <p:tgtEl>
                                          <p:spTgt spid="42"/>
                                        </p:tgtEl>
                                      </p:cBhvr>
                                    </p:animEffect>
                                  </p:childTnLst>
                                </p:cTn>
                              </p:par>
                              <p:par>
                                <p:cTn id="16" presetID="22" presetClass="entr" presetSubtype="8"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500"/>
                                        <p:tgtEl>
                                          <p:spTgt spid="4"/>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wipe(left)">
                                      <p:cBhvr>
                                        <p:cTn id="26" dur="500"/>
                                        <p:tgtEl>
                                          <p:spTgt spid="39"/>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wipe(left)">
                                      <p:cBhvr>
                                        <p:cTn id="29" dur="500"/>
                                        <p:tgtEl>
                                          <p:spTgt spid="43"/>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wipe(left)">
                                      <p:cBhvr>
                                        <p:cTn id="3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6" grpId="0"/>
      <p:bldP spid="40" grpId="0"/>
      <p:bldP spid="42" grpId="0" animBg="1"/>
      <p:bldP spid="4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3906F83-06BE-B146-86AC-38AAE14482B2}"/>
              </a:ext>
            </a:extLst>
          </p:cNvPr>
          <p:cNvSpPr>
            <a:spLocks noGrp="1"/>
          </p:cNvSpPr>
          <p:nvPr>
            <p:ph type="body" sz="quarter" idx="4294967295"/>
          </p:nvPr>
        </p:nvSpPr>
        <p:spPr>
          <a:xfrm>
            <a:off x="514556" y="373807"/>
            <a:ext cx="12191999" cy="596237"/>
          </a:xfrm>
          <a:prstGeom prst="rect">
            <a:avLst/>
          </a:prstGeom>
        </p:spPr>
        <p:txBody>
          <a:bodyPr/>
          <a:lstStyle/>
          <a:p>
            <a:pPr marL="0" indent="0">
              <a:buNone/>
            </a:pPr>
            <a:r>
              <a:rPr lang="en-US" sz="3600" spc="-50" dirty="0">
                <a:ln w="3175">
                  <a:noFill/>
                </a:ln>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Microsoft Learn</a:t>
            </a:r>
          </a:p>
        </p:txBody>
      </p:sp>
      <p:sp>
        <p:nvSpPr>
          <p:cNvPr id="3" name="TextBox 2">
            <a:extLst>
              <a:ext uri="{FF2B5EF4-FFF2-40B4-BE49-F238E27FC236}">
                <a16:creationId xmlns:a16="http://schemas.microsoft.com/office/drawing/2014/main" id="{CBA0AD35-6E6E-6E45-9C38-F57F9223F96B}"/>
              </a:ext>
            </a:extLst>
          </p:cNvPr>
          <p:cNvSpPr txBox="1"/>
          <p:nvPr/>
        </p:nvSpPr>
        <p:spPr>
          <a:xfrm>
            <a:off x="681704" y="2656102"/>
            <a:ext cx="2337371" cy="338554"/>
          </a:xfrm>
          <a:prstGeom prst="rect">
            <a:avLst/>
          </a:prstGeom>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tep-by-Step Learning</a:t>
            </a:r>
          </a:p>
        </p:txBody>
      </p:sp>
      <p:sp>
        <p:nvSpPr>
          <p:cNvPr id="7" name="TextBox 6">
            <a:extLst>
              <a:ext uri="{FF2B5EF4-FFF2-40B4-BE49-F238E27FC236}">
                <a16:creationId xmlns:a16="http://schemas.microsoft.com/office/drawing/2014/main" id="{7AC565FA-9BCF-1E40-9845-85B69B32C320}"/>
              </a:ext>
            </a:extLst>
          </p:cNvPr>
          <p:cNvSpPr txBox="1"/>
          <p:nvPr/>
        </p:nvSpPr>
        <p:spPr>
          <a:xfrm>
            <a:off x="4428507" y="2656102"/>
            <a:ext cx="3414076" cy="338554"/>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Gamification &amp; Achievements</a:t>
            </a:r>
          </a:p>
        </p:txBody>
      </p:sp>
      <p:sp>
        <p:nvSpPr>
          <p:cNvPr id="9" name="TextBox 8">
            <a:extLst>
              <a:ext uri="{FF2B5EF4-FFF2-40B4-BE49-F238E27FC236}">
                <a16:creationId xmlns:a16="http://schemas.microsoft.com/office/drawing/2014/main" id="{54E2A916-6BA0-B845-AAE2-6A71AE73855E}"/>
              </a:ext>
            </a:extLst>
          </p:cNvPr>
          <p:cNvSpPr txBox="1"/>
          <p:nvPr/>
        </p:nvSpPr>
        <p:spPr>
          <a:xfrm>
            <a:off x="8321264" y="2656102"/>
            <a:ext cx="2221890" cy="338554"/>
          </a:xfrm>
          <a:prstGeom prst="rect">
            <a:avLst/>
          </a:prstGeom>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Friction-Free Learning</a:t>
            </a:r>
          </a:p>
        </p:txBody>
      </p:sp>
      <p:sp>
        <p:nvSpPr>
          <p:cNvPr id="11" name="TextBox 10">
            <a:extLst>
              <a:ext uri="{FF2B5EF4-FFF2-40B4-BE49-F238E27FC236}">
                <a16:creationId xmlns:a16="http://schemas.microsoft.com/office/drawing/2014/main" id="{1B3EB210-5438-E048-A0C2-CE7897A17E14}"/>
              </a:ext>
            </a:extLst>
          </p:cNvPr>
          <p:cNvSpPr txBox="1"/>
          <p:nvPr/>
        </p:nvSpPr>
        <p:spPr>
          <a:xfrm>
            <a:off x="8318474" y="3087078"/>
            <a:ext cx="3229247" cy="1877437"/>
          </a:xfrm>
          <a:prstGeom prst="rect">
            <a:avLst/>
          </a:prstGeom>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ll learning content is free </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tent available in the spoken language and programming language of my choice</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install, browser-based Interactive coding/scripting environment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ll scripts and code samples available for download</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1C08B2D3-647E-E847-B5E0-F4161BC8425B}"/>
              </a:ext>
            </a:extLst>
          </p:cNvPr>
          <p:cNvSpPr txBox="1"/>
          <p:nvPr/>
        </p:nvSpPr>
        <p:spPr>
          <a:xfrm>
            <a:off x="680652" y="3087078"/>
            <a:ext cx="3469699" cy="1169551"/>
          </a:xfrm>
          <a:prstGeom prst="rect">
            <a:avLst/>
          </a:prstGeom>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uided microlearning by product/service, difficulty, job role, </a:t>
            </a:r>
            <a:r>
              <a:rPr kumimoji="0" lang="en-US"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etc</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ideos, tutorials, and hands-on learning</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ole-based learning paths to prepare for certification</a:t>
            </a:r>
          </a:p>
        </p:txBody>
      </p:sp>
      <p:sp>
        <p:nvSpPr>
          <p:cNvPr id="14" name="TextBox 13">
            <a:extLst>
              <a:ext uri="{FF2B5EF4-FFF2-40B4-BE49-F238E27FC236}">
                <a16:creationId xmlns:a16="http://schemas.microsoft.com/office/drawing/2014/main" id="{1C09A405-88A6-0E4E-9DED-B1C1425C8571}"/>
              </a:ext>
            </a:extLst>
          </p:cNvPr>
          <p:cNvSpPr txBox="1"/>
          <p:nvPr/>
        </p:nvSpPr>
        <p:spPr>
          <a:xfrm>
            <a:off x="4417893" y="3087078"/>
            <a:ext cx="3200380" cy="1508105"/>
          </a:xfrm>
          <a:prstGeom prst="rect">
            <a:avLst/>
          </a:prstGeom>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nlock achievement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ask-based achievements to reward your hands-on skill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ustomizable user profil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20" name="Straight Connector 19">
            <a:extLst>
              <a:ext uri="{FF2B5EF4-FFF2-40B4-BE49-F238E27FC236}">
                <a16:creationId xmlns:a16="http://schemas.microsoft.com/office/drawing/2014/main" id="{64E6BDF3-92BF-4E67-AD6F-15770C1926E5}"/>
              </a:ext>
            </a:extLst>
          </p:cNvPr>
          <p:cNvCxnSpPr>
            <a:cxnSpLocks/>
          </p:cNvCxnSpPr>
          <p:nvPr/>
        </p:nvCxnSpPr>
        <p:spPr>
          <a:xfrm>
            <a:off x="773690" y="4435585"/>
            <a:ext cx="28392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E025F04-8F54-4BFF-9336-BDB330877139}"/>
              </a:ext>
            </a:extLst>
          </p:cNvPr>
          <p:cNvCxnSpPr>
            <a:cxnSpLocks/>
          </p:cNvCxnSpPr>
          <p:nvPr/>
        </p:nvCxnSpPr>
        <p:spPr>
          <a:xfrm>
            <a:off x="8398994" y="5254026"/>
            <a:ext cx="303976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03EF289-5A90-4000-9289-E47229647F52}"/>
              </a:ext>
            </a:extLst>
          </p:cNvPr>
          <p:cNvCxnSpPr>
            <a:cxnSpLocks/>
          </p:cNvCxnSpPr>
          <p:nvPr/>
        </p:nvCxnSpPr>
        <p:spPr>
          <a:xfrm>
            <a:off x="4502935" y="4233545"/>
            <a:ext cx="283926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07945C5-7441-4944-8CDB-AE367F1234F1}"/>
              </a:ext>
            </a:extLst>
          </p:cNvPr>
          <p:cNvPicPr>
            <a:picLocks noChangeAspect="1"/>
          </p:cNvPicPr>
          <p:nvPr/>
        </p:nvPicPr>
        <p:blipFill>
          <a:blip r:embed="rId3"/>
          <a:stretch>
            <a:fillRect/>
          </a:stretch>
        </p:blipFill>
        <p:spPr>
          <a:xfrm>
            <a:off x="5094953" y="1588635"/>
            <a:ext cx="1333500" cy="942975"/>
          </a:xfrm>
          <a:prstGeom prst="rect">
            <a:avLst/>
          </a:prstGeom>
          <a:effectLst>
            <a:softEdge rad="31750"/>
          </a:effectLst>
        </p:spPr>
      </p:pic>
      <p:pic>
        <p:nvPicPr>
          <p:cNvPr id="10" name="Picture 9">
            <a:extLst>
              <a:ext uri="{FF2B5EF4-FFF2-40B4-BE49-F238E27FC236}">
                <a16:creationId xmlns:a16="http://schemas.microsoft.com/office/drawing/2014/main" id="{9035EAF0-EA83-4D0A-A631-8D7F0D919773}"/>
              </a:ext>
            </a:extLst>
          </p:cNvPr>
          <p:cNvPicPr>
            <a:picLocks noChangeAspect="1"/>
          </p:cNvPicPr>
          <p:nvPr/>
        </p:nvPicPr>
        <p:blipFill>
          <a:blip r:embed="rId4"/>
          <a:stretch>
            <a:fillRect/>
          </a:stretch>
        </p:blipFill>
        <p:spPr>
          <a:xfrm>
            <a:off x="1283022" y="1662484"/>
            <a:ext cx="1257300" cy="438150"/>
          </a:xfrm>
          <a:prstGeom prst="rect">
            <a:avLst/>
          </a:prstGeom>
        </p:spPr>
      </p:pic>
      <p:pic>
        <p:nvPicPr>
          <p:cNvPr id="15" name="Picture 14">
            <a:extLst>
              <a:ext uri="{FF2B5EF4-FFF2-40B4-BE49-F238E27FC236}">
                <a16:creationId xmlns:a16="http://schemas.microsoft.com/office/drawing/2014/main" id="{182C415D-CE5B-465A-A8EC-4F789F7C71C6}"/>
              </a:ext>
            </a:extLst>
          </p:cNvPr>
          <p:cNvPicPr>
            <a:picLocks noChangeAspect="1"/>
          </p:cNvPicPr>
          <p:nvPr/>
        </p:nvPicPr>
        <p:blipFill>
          <a:blip r:embed="rId5"/>
          <a:stretch>
            <a:fillRect/>
          </a:stretch>
        </p:blipFill>
        <p:spPr>
          <a:xfrm>
            <a:off x="680652" y="2193570"/>
            <a:ext cx="2505075" cy="361950"/>
          </a:xfrm>
          <a:prstGeom prst="rect">
            <a:avLst/>
          </a:prstGeom>
          <a:effectLst>
            <a:softEdge rad="31750"/>
          </a:effectLst>
        </p:spPr>
      </p:pic>
      <p:pic>
        <p:nvPicPr>
          <p:cNvPr id="19" name="Picture 18">
            <a:extLst>
              <a:ext uri="{FF2B5EF4-FFF2-40B4-BE49-F238E27FC236}">
                <a16:creationId xmlns:a16="http://schemas.microsoft.com/office/drawing/2014/main" id="{B7048BA1-0C27-49AB-B4E3-388532C028B0}"/>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9006275" y="1540461"/>
            <a:ext cx="1066800" cy="1076325"/>
          </a:xfrm>
          <a:prstGeom prst="rect">
            <a:avLst/>
          </a:prstGeom>
        </p:spPr>
      </p:pic>
      <p:grpSp>
        <p:nvGrpSpPr>
          <p:cNvPr id="27" name="Group 26">
            <a:extLst>
              <a:ext uri="{FF2B5EF4-FFF2-40B4-BE49-F238E27FC236}">
                <a16:creationId xmlns:a16="http://schemas.microsoft.com/office/drawing/2014/main" id="{BF9658C5-B42D-4EFD-B2D8-F1960D5B6EA7}"/>
              </a:ext>
            </a:extLst>
          </p:cNvPr>
          <p:cNvGrpSpPr/>
          <p:nvPr/>
        </p:nvGrpSpPr>
        <p:grpSpPr>
          <a:xfrm>
            <a:off x="1073888" y="5052799"/>
            <a:ext cx="6542879" cy="1869111"/>
            <a:chOff x="1073888" y="5052799"/>
            <a:chExt cx="6542879" cy="1869111"/>
          </a:xfrm>
        </p:grpSpPr>
        <p:pic>
          <p:nvPicPr>
            <p:cNvPr id="23" name="Picture 22">
              <a:extLst>
                <a:ext uri="{FF2B5EF4-FFF2-40B4-BE49-F238E27FC236}">
                  <a16:creationId xmlns:a16="http://schemas.microsoft.com/office/drawing/2014/main" id="{D9CBB859-AD11-473D-A3E8-7FE864138E66}"/>
                </a:ext>
              </a:extLst>
            </p:cNvPr>
            <p:cNvPicPr>
              <a:picLocks noChangeAspect="1"/>
            </p:cNvPicPr>
            <p:nvPr/>
          </p:nvPicPr>
          <p:blipFill rotWithShape="1">
            <a:blip r:embed="rId7"/>
            <a:srcRect l="36027" t="55487" r="45767" b="14765"/>
            <a:stretch/>
          </p:blipFill>
          <p:spPr>
            <a:xfrm>
              <a:off x="5481492" y="5079032"/>
              <a:ext cx="968937" cy="876367"/>
            </a:xfrm>
            <a:prstGeom prst="rect">
              <a:avLst/>
            </a:prstGeom>
          </p:spPr>
        </p:pic>
        <p:pic>
          <p:nvPicPr>
            <p:cNvPr id="24" name="Picture 23">
              <a:extLst>
                <a:ext uri="{FF2B5EF4-FFF2-40B4-BE49-F238E27FC236}">
                  <a16:creationId xmlns:a16="http://schemas.microsoft.com/office/drawing/2014/main" id="{EF7BE4D6-9625-490E-8E80-64EA00EBC952}"/>
                </a:ext>
              </a:extLst>
            </p:cNvPr>
            <p:cNvPicPr>
              <a:picLocks noChangeAspect="1"/>
            </p:cNvPicPr>
            <p:nvPr/>
          </p:nvPicPr>
          <p:blipFill rotWithShape="1">
            <a:blip r:embed="rId7"/>
            <a:srcRect l="9724" t="63524" r="79959" b="17949"/>
            <a:stretch/>
          </p:blipFill>
          <p:spPr>
            <a:xfrm>
              <a:off x="6116179" y="6003861"/>
              <a:ext cx="549079" cy="545795"/>
            </a:xfrm>
            <a:prstGeom prst="rect">
              <a:avLst/>
            </a:prstGeom>
          </p:spPr>
        </p:pic>
        <p:pic>
          <p:nvPicPr>
            <p:cNvPr id="25" name="Picture 24">
              <a:extLst>
                <a:ext uri="{FF2B5EF4-FFF2-40B4-BE49-F238E27FC236}">
                  <a16:creationId xmlns:a16="http://schemas.microsoft.com/office/drawing/2014/main" id="{7511E12E-B820-4E80-A7BE-29BD237AD706}"/>
                </a:ext>
              </a:extLst>
            </p:cNvPr>
            <p:cNvPicPr>
              <a:picLocks noChangeAspect="1"/>
            </p:cNvPicPr>
            <p:nvPr/>
          </p:nvPicPr>
          <p:blipFill rotWithShape="1">
            <a:blip r:embed="rId7"/>
            <a:srcRect l="81192" t="59719" r="930" b="10705"/>
            <a:stretch/>
          </p:blipFill>
          <p:spPr>
            <a:xfrm>
              <a:off x="6665258" y="5393551"/>
              <a:ext cx="951509" cy="871319"/>
            </a:xfrm>
            <a:prstGeom prst="rect">
              <a:avLst/>
            </a:prstGeom>
          </p:spPr>
        </p:pic>
        <p:pic>
          <p:nvPicPr>
            <p:cNvPr id="26" name="Picture 25">
              <a:extLst>
                <a:ext uri="{FF2B5EF4-FFF2-40B4-BE49-F238E27FC236}">
                  <a16:creationId xmlns:a16="http://schemas.microsoft.com/office/drawing/2014/main" id="{16F5032C-3D20-4502-98FC-57175ED1B76D}"/>
                </a:ext>
              </a:extLst>
            </p:cNvPr>
            <p:cNvPicPr>
              <a:picLocks noChangeAspect="1"/>
            </p:cNvPicPr>
            <p:nvPr/>
          </p:nvPicPr>
          <p:blipFill rotWithShape="1">
            <a:blip r:embed="rId7"/>
            <a:srcRect l="70410" t="61956" r="20785" b="19517"/>
            <a:stretch/>
          </p:blipFill>
          <p:spPr>
            <a:xfrm>
              <a:off x="6789183" y="6376114"/>
              <a:ext cx="468617" cy="545796"/>
            </a:xfrm>
            <a:prstGeom prst="rect">
              <a:avLst/>
            </a:prstGeom>
          </p:spPr>
        </p:pic>
        <p:pic>
          <p:nvPicPr>
            <p:cNvPr id="21" name="Picture 20">
              <a:extLst>
                <a:ext uri="{FF2B5EF4-FFF2-40B4-BE49-F238E27FC236}">
                  <a16:creationId xmlns:a16="http://schemas.microsoft.com/office/drawing/2014/main" id="{60562916-136D-4B52-B758-B85BD378D72C}"/>
                </a:ext>
              </a:extLst>
            </p:cNvPr>
            <p:cNvPicPr>
              <a:picLocks noChangeAspect="1"/>
            </p:cNvPicPr>
            <p:nvPr/>
          </p:nvPicPr>
          <p:blipFill rotWithShape="1">
            <a:blip r:embed="rId7"/>
            <a:srcRect t="-1" b="38723"/>
            <a:stretch/>
          </p:blipFill>
          <p:spPr>
            <a:xfrm>
              <a:off x="1073888" y="5052799"/>
              <a:ext cx="5322059" cy="1805200"/>
            </a:xfrm>
            <a:prstGeom prst="rect">
              <a:avLst/>
            </a:prstGeom>
          </p:spPr>
        </p:pic>
      </p:grpSp>
      <p:sp>
        <p:nvSpPr>
          <p:cNvPr id="12" name="TextBox 11">
            <a:extLst>
              <a:ext uri="{FF2B5EF4-FFF2-40B4-BE49-F238E27FC236}">
                <a16:creationId xmlns:a16="http://schemas.microsoft.com/office/drawing/2014/main" id="{8CEC49C3-5BA1-4FC3-B1A4-C4B1DD0041C2}"/>
              </a:ext>
            </a:extLst>
          </p:cNvPr>
          <p:cNvSpPr txBox="1"/>
          <p:nvPr/>
        </p:nvSpPr>
        <p:spPr>
          <a:xfrm>
            <a:off x="577890" y="909318"/>
            <a:ext cx="3900262" cy="36933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www.microsoft.com/learn</a:t>
            </a:r>
          </a:p>
        </p:txBody>
      </p:sp>
      <p:sp>
        <p:nvSpPr>
          <p:cNvPr id="28" name="TextBox 27">
            <a:extLst>
              <a:ext uri="{FF2B5EF4-FFF2-40B4-BE49-F238E27FC236}">
                <a16:creationId xmlns:a16="http://schemas.microsoft.com/office/drawing/2014/main" id="{08CE8D25-D08C-43A7-A428-E732C91584B3}"/>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5347602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0C7AA-4848-443E-9C1C-3BF669C89536}"/>
              </a:ext>
            </a:extLst>
          </p:cNvPr>
          <p:cNvSpPr>
            <a:spLocks noGrp="1"/>
          </p:cNvSpPr>
          <p:nvPr>
            <p:ph type="title"/>
          </p:nvPr>
        </p:nvSpPr>
        <p:spPr>
          <a:xfrm>
            <a:off x="2264644" y="1674141"/>
            <a:ext cx="8213555" cy="609398"/>
          </a:xfrm>
        </p:spPr>
        <p:txBody>
          <a:bodyPr/>
          <a:lstStyle/>
          <a:p>
            <a:r>
              <a:rPr lang="en-GB" sz="4400" u="sng" dirty="0">
                <a:solidFill>
                  <a:srgbClr val="5B2C82"/>
                </a:solidFill>
              </a:rPr>
              <a:t>https://aka.ms/sarahfeedback</a:t>
            </a:r>
          </a:p>
        </p:txBody>
      </p:sp>
      <p:pic>
        <p:nvPicPr>
          <p:cNvPr id="8" name="Graphic 7">
            <a:extLst>
              <a:ext uri="{FF2B5EF4-FFF2-40B4-BE49-F238E27FC236}">
                <a16:creationId xmlns:a16="http://schemas.microsoft.com/office/drawing/2014/main" id="{61DCD6FF-4CE0-411D-8F2F-7BEA7284EB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0613" y="2703387"/>
            <a:ext cx="10070773" cy="3615149"/>
          </a:xfrm>
          <a:prstGeom prst="rect">
            <a:avLst/>
          </a:prstGeom>
        </p:spPr>
      </p:pic>
    </p:spTree>
    <p:extLst>
      <p:ext uri="{BB962C8B-B14F-4D97-AF65-F5344CB8AC3E}">
        <p14:creationId xmlns:p14="http://schemas.microsoft.com/office/powerpoint/2010/main" val="3653083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0C7AA-4848-443E-9C1C-3BF669C89536}"/>
              </a:ext>
            </a:extLst>
          </p:cNvPr>
          <p:cNvSpPr>
            <a:spLocks noGrp="1"/>
          </p:cNvSpPr>
          <p:nvPr>
            <p:ph type="title"/>
          </p:nvPr>
        </p:nvSpPr>
        <p:spPr>
          <a:xfrm>
            <a:off x="2264644" y="1674141"/>
            <a:ext cx="8213555" cy="609398"/>
          </a:xfrm>
        </p:spPr>
        <p:txBody>
          <a:bodyPr/>
          <a:lstStyle/>
          <a:p>
            <a:r>
              <a:rPr lang="en-GB" sz="4400" u="sng" dirty="0">
                <a:solidFill>
                  <a:srgbClr val="5B2C82"/>
                </a:solidFill>
              </a:rPr>
              <a:t>https://aka.ms/sarahfeedback</a:t>
            </a:r>
          </a:p>
        </p:txBody>
      </p:sp>
      <p:sp>
        <p:nvSpPr>
          <p:cNvPr id="9" name="Rectangle 8">
            <a:extLst>
              <a:ext uri="{FF2B5EF4-FFF2-40B4-BE49-F238E27FC236}">
                <a16:creationId xmlns:a16="http://schemas.microsoft.com/office/drawing/2014/main" id="{09D2703E-B0F4-44E7-93DA-C451960C40AF}"/>
              </a:ext>
            </a:extLst>
          </p:cNvPr>
          <p:cNvSpPr/>
          <p:nvPr/>
        </p:nvSpPr>
        <p:spPr>
          <a:xfrm>
            <a:off x="3800666" y="3997369"/>
            <a:ext cx="4754122" cy="212365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5B2C82"/>
                </a:solidFill>
                <a:effectLst/>
                <a:uLnTx/>
                <a:uFillTx/>
                <a:latin typeface="Segoe UI"/>
                <a:ea typeface="+mn-ea"/>
                <a:cs typeface="+mn-cs"/>
              </a:rPr>
              <a:t>Thank you | Q&amp;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dirty="0">
              <a:ln>
                <a:noFill/>
              </a:ln>
              <a:solidFill>
                <a:srgbClr val="5B2C82"/>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5B2C82"/>
                </a:solidFill>
                <a:effectLst/>
                <a:uLnTx/>
                <a:uFillTx/>
                <a:latin typeface="Segoe UI"/>
                <a:ea typeface="+mn-ea"/>
                <a:cs typeface="+mn-cs"/>
              </a:rPr>
              <a:t>@</a:t>
            </a:r>
            <a:r>
              <a:rPr kumimoji="0" lang="en-US" sz="4400" b="1" i="0" u="none" strike="noStrike" kern="1200" cap="none" spc="0" normalizeH="0" baseline="0" noProof="0" dirty="0" err="1">
                <a:ln>
                  <a:noFill/>
                </a:ln>
                <a:solidFill>
                  <a:srgbClr val="5B2C82"/>
                </a:solidFill>
                <a:effectLst/>
                <a:uLnTx/>
                <a:uFillTx/>
                <a:latin typeface="Segoe UI"/>
                <a:ea typeface="+mn-ea"/>
                <a:cs typeface="+mn-cs"/>
              </a:rPr>
              <a:t>TechieLass</a:t>
            </a:r>
            <a:endParaRPr kumimoji="0" lang="en-GB" sz="4400" b="1" i="0" u="none" strike="noStrike" kern="1200" cap="none" spc="0" normalizeH="0" baseline="0" noProof="0" dirty="0">
              <a:ln>
                <a:noFill/>
              </a:ln>
              <a:solidFill>
                <a:srgbClr val="5B2C82"/>
              </a:solidFill>
              <a:effectLst/>
              <a:uLnTx/>
              <a:uFillTx/>
              <a:latin typeface="Segoe UI"/>
              <a:ea typeface="+mn-ea"/>
              <a:cs typeface="+mn-cs"/>
            </a:endParaRPr>
          </a:p>
        </p:txBody>
      </p:sp>
    </p:spTree>
    <p:extLst>
      <p:ext uri="{BB962C8B-B14F-4D97-AF65-F5344CB8AC3E}">
        <p14:creationId xmlns:p14="http://schemas.microsoft.com/office/powerpoint/2010/main" val="2552028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BD4F371-765D-4E5B-9488-FF7C69B815F8}"/>
              </a:ext>
            </a:extLst>
          </p:cNvPr>
          <p:cNvSpPr/>
          <p:nvPr/>
        </p:nvSpPr>
        <p:spPr bwMode="auto">
          <a:xfrm>
            <a:off x="6436748" y="215020"/>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 name="Rectangle 1">
            <a:extLst>
              <a:ext uri="{FF2B5EF4-FFF2-40B4-BE49-F238E27FC236}">
                <a16:creationId xmlns:a16="http://schemas.microsoft.com/office/drawing/2014/main" id="{CB05782F-EAFA-46A8-AE3C-D6B127C68B71}"/>
              </a:ext>
            </a:extLst>
          </p:cNvPr>
          <p:cNvSpPr/>
          <p:nvPr/>
        </p:nvSpPr>
        <p:spPr>
          <a:xfrm>
            <a:off x="8161778" y="1691541"/>
            <a:ext cx="2355132" cy="707886"/>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2008 | R2</a:t>
            </a:r>
            <a:endParaRPr kumimoji="0" lang="en-US" sz="36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013E8A2A-FFF6-4A7B-AA12-C6D604A549F1}"/>
              </a:ext>
            </a:extLst>
          </p:cNvPr>
          <p:cNvGrpSpPr/>
          <p:nvPr/>
        </p:nvGrpSpPr>
        <p:grpSpPr>
          <a:xfrm>
            <a:off x="8997237" y="682290"/>
            <a:ext cx="628509" cy="629594"/>
            <a:chOff x="9592192" y="1744460"/>
            <a:chExt cx="551498" cy="552450"/>
          </a:xfrm>
        </p:grpSpPr>
        <p:sp>
          <p:nvSpPr>
            <p:cNvPr id="4" name="Freeform: Shape 3">
              <a:extLst>
                <a:ext uri="{FF2B5EF4-FFF2-40B4-BE49-F238E27FC236}">
                  <a16:creationId xmlns:a16="http://schemas.microsoft.com/office/drawing/2014/main" id="{00D5A185-6D41-4304-9E4F-661DE244685E}"/>
                </a:ext>
              </a:extLst>
            </p:cNvPr>
            <p:cNvSpPr/>
            <p:nvPr/>
          </p:nvSpPr>
          <p:spPr>
            <a:xfrm>
              <a:off x="9848415" y="1744460"/>
              <a:ext cx="295275" cy="552450"/>
            </a:xfrm>
            <a:custGeom>
              <a:avLst/>
              <a:gdLst/>
              <a:ahLst/>
              <a:cxnLst/>
              <a:rect l="0" t="0" r="0" b="0"/>
              <a:pathLst>
                <a:path w="295275" h="552450">
                  <a:moveTo>
                    <a:pt x="19526" y="7144"/>
                  </a:moveTo>
                  <a:lnTo>
                    <a:pt x="7144" y="246221"/>
                  </a:lnTo>
                  <a:lnTo>
                    <a:pt x="19526" y="547211"/>
                  </a:lnTo>
                  <a:lnTo>
                    <a:pt x="42386" y="534829"/>
                  </a:lnTo>
                  <a:cubicBezTo>
                    <a:pt x="194786" y="451009"/>
                    <a:pt x="290036" y="290036"/>
                    <a:pt x="290036" y="115729"/>
                  </a:cubicBezTo>
                  <a:lnTo>
                    <a:pt x="290036" y="7144"/>
                  </a:lnTo>
                  <a:lnTo>
                    <a:pt x="290036" y="7144"/>
                  </a:lnTo>
                  <a:cubicBezTo>
                    <a:pt x="204311" y="50006"/>
                    <a:pt x="104299" y="50006"/>
                    <a:pt x="19526" y="7144"/>
                  </a:cubicBezTo>
                  <a:lnTo>
                    <a:pt x="19526" y="7144"/>
                  </a:lnTo>
                  <a:close/>
                </a:path>
              </a:pathLst>
            </a:custGeom>
            <a:solidFill>
              <a:srgbClr val="0078D4"/>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DDB8F09A-42B8-4639-AEB0-E874F4B31771}"/>
                </a:ext>
              </a:extLst>
            </p:cNvPr>
            <p:cNvSpPr/>
            <p:nvPr/>
          </p:nvSpPr>
          <p:spPr>
            <a:xfrm>
              <a:off x="9592192" y="1744460"/>
              <a:ext cx="485775" cy="552450"/>
            </a:xfrm>
            <a:custGeom>
              <a:avLst/>
              <a:gdLst/>
              <a:ahLst/>
              <a:cxnLst/>
              <a:rect l="0" t="0" r="0" b="0"/>
              <a:pathLst>
                <a:path w="485775" h="552450">
                  <a:moveTo>
                    <a:pt x="481489" y="214789"/>
                  </a:moveTo>
                  <a:lnTo>
                    <a:pt x="442436" y="175736"/>
                  </a:lnTo>
                  <a:lnTo>
                    <a:pt x="277654" y="340519"/>
                  </a:lnTo>
                  <a:lnTo>
                    <a:pt x="277654" y="7144"/>
                  </a:lnTo>
                  <a:cubicBezTo>
                    <a:pt x="192881" y="50006"/>
                    <a:pt x="91916" y="50006"/>
                    <a:pt x="7144" y="7144"/>
                  </a:cubicBezTo>
                  <a:lnTo>
                    <a:pt x="7144" y="115729"/>
                  </a:lnTo>
                  <a:cubicBezTo>
                    <a:pt x="7144" y="290036"/>
                    <a:pt x="101441" y="450056"/>
                    <a:pt x="254794" y="534829"/>
                  </a:cubicBezTo>
                  <a:lnTo>
                    <a:pt x="277654" y="547211"/>
                  </a:lnTo>
                  <a:lnTo>
                    <a:pt x="277654" y="419576"/>
                  </a:lnTo>
                  <a:lnTo>
                    <a:pt x="481489" y="214789"/>
                  </a:lnTo>
                  <a:close/>
                </a:path>
              </a:pathLst>
            </a:custGeom>
            <a:solidFill>
              <a:srgbClr val="163E6A"/>
            </a:solidFill>
            <a:ln w="9525" cap="flat">
              <a:noFill/>
              <a:prstDash val="solid"/>
              <a:miter/>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530A259A-61EE-4C99-9977-F3DAD4A1F0E7}"/>
                </a:ext>
              </a:extLst>
            </p:cNvPr>
            <p:cNvSpPr/>
            <p:nvPr/>
          </p:nvSpPr>
          <p:spPr bwMode="auto">
            <a:xfrm rot="18900000">
              <a:off x="9773899" y="1883265"/>
              <a:ext cx="284225" cy="150955"/>
            </a:xfrm>
            <a:custGeom>
              <a:avLst/>
              <a:gdLst>
                <a:gd name="connsiteX0" fmla="*/ 284225 w 284225"/>
                <a:gd name="connsiteY0" fmla="*/ 107849 h 150955"/>
                <a:gd name="connsiteX1" fmla="*/ 284225 w 284225"/>
                <a:gd name="connsiteY1" fmla="*/ 150955 h 150955"/>
                <a:gd name="connsiteX2" fmla="*/ 0 w 284225"/>
                <a:gd name="connsiteY2" fmla="*/ 150955 h 150955"/>
                <a:gd name="connsiteX3" fmla="*/ 0 w 284225"/>
                <a:gd name="connsiteY3" fmla="*/ 0 h 150955"/>
                <a:gd name="connsiteX4" fmla="*/ 43779 w 284225"/>
                <a:gd name="connsiteY4" fmla="*/ 0 h 150955"/>
                <a:gd name="connsiteX5" fmla="*/ 43779 w 284225"/>
                <a:gd name="connsiteY5" fmla="*/ 107176 h 150955"/>
                <a:gd name="connsiteX6" fmla="*/ 284225 w 284225"/>
                <a:gd name="connsiteY6" fmla="*/ 107849 h 1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225" h="150955">
                  <a:moveTo>
                    <a:pt x="284225" y="107849"/>
                  </a:moveTo>
                  <a:lnTo>
                    <a:pt x="284225" y="150955"/>
                  </a:lnTo>
                  <a:lnTo>
                    <a:pt x="0" y="150955"/>
                  </a:lnTo>
                  <a:lnTo>
                    <a:pt x="0" y="0"/>
                  </a:lnTo>
                  <a:lnTo>
                    <a:pt x="43779" y="0"/>
                  </a:lnTo>
                  <a:lnTo>
                    <a:pt x="43779" y="107176"/>
                  </a:lnTo>
                  <a:lnTo>
                    <a:pt x="284225" y="10784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44211F53-5884-47CC-8F63-F11388A70DCB}"/>
              </a:ext>
            </a:extLst>
          </p:cNvPr>
          <p:cNvGrpSpPr/>
          <p:nvPr/>
        </p:nvGrpSpPr>
        <p:grpSpPr>
          <a:xfrm>
            <a:off x="7551840" y="2964423"/>
            <a:ext cx="639988" cy="851207"/>
            <a:chOff x="1031674" y="930127"/>
            <a:chExt cx="1441832" cy="1917689"/>
          </a:xfrm>
        </p:grpSpPr>
        <p:sp>
          <p:nvSpPr>
            <p:cNvPr id="8" name="Freeform: Shape 7">
              <a:extLst>
                <a:ext uri="{FF2B5EF4-FFF2-40B4-BE49-F238E27FC236}">
                  <a16:creationId xmlns:a16="http://schemas.microsoft.com/office/drawing/2014/main" id="{9B1CE2B4-02D1-4BFB-A5AE-E4874656054D}"/>
                </a:ext>
              </a:extLst>
            </p:cNvPr>
            <p:cNvSpPr/>
            <p:nvPr/>
          </p:nvSpPr>
          <p:spPr>
            <a:xfrm>
              <a:off x="1031674" y="1220234"/>
              <a:ext cx="1441832" cy="1627582"/>
            </a:xfrm>
            <a:custGeom>
              <a:avLst/>
              <a:gdLst>
                <a:gd name="connsiteX0" fmla="*/ 503094 w 1001884"/>
                <a:gd name="connsiteY0" fmla="*/ 207445 h 1130961"/>
                <a:gd name="connsiteX1" fmla="*/ 4610 w 1001884"/>
                <a:gd name="connsiteY1" fmla="*/ 4610 h 1130961"/>
                <a:gd name="connsiteX2" fmla="*/ 4610 w 1001884"/>
                <a:gd name="connsiteY2" fmla="*/ 927204 h 1130961"/>
                <a:gd name="connsiteX3" fmla="*/ 503094 w 1001884"/>
                <a:gd name="connsiteY3" fmla="*/ 1130039 h 1130961"/>
                <a:gd name="connsiteX4" fmla="*/ 1001577 w 1001884"/>
                <a:gd name="connsiteY4" fmla="*/ 927204 h 1130961"/>
                <a:gd name="connsiteX5" fmla="*/ 1001577 w 1001884"/>
                <a:gd name="connsiteY5" fmla="*/ 4610 h 1130961"/>
                <a:gd name="connsiteX6" fmla="*/ 503094 w 1001884"/>
                <a:gd name="connsiteY6" fmla="*/ 207445 h 113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884" h="1130961">
                  <a:moveTo>
                    <a:pt x="503094" y="207445"/>
                  </a:moveTo>
                  <a:cubicBezTo>
                    <a:pt x="227729" y="207445"/>
                    <a:pt x="4610" y="116477"/>
                    <a:pt x="4610" y="4610"/>
                  </a:cubicBezTo>
                  <a:lnTo>
                    <a:pt x="4610" y="927204"/>
                  </a:lnTo>
                  <a:cubicBezTo>
                    <a:pt x="4610" y="1039071"/>
                    <a:pt x="227729" y="1130039"/>
                    <a:pt x="503094" y="1130039"/>
                  </a:cubicBezTo>
                  <a:cubicBezTo>
                    <a:pt x="778458" y="1130039"/>
                    <a:pt x="1001577" y="1039071"/>
                    <a:pt x="1001577" y="927204"/>
                  </a:cubicBezTo>
                  <a:lnTo>
                    <a:pt x="1001577" y="4610"/>
                  </a:lnTo>
                  <a:cubicBezTo>
                    <a:pt x="1000963" y="116477"/>
                    <a:pt x="778458" y="207445"/>
                    <a:pt x="503094" y="20744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sp>
          <p:nvSpPr>
            <p:cNvPr id="9" name="Oval 8">
              <a:extLst>
                <a:ext uri="{FF2B5EF4-FFF2-40B4-BE49-F238E27FC236}">
                  <a16:creationId xmlns:a16="http://schemas.microsoft.com/office/drawing/2014/main" id="{D3C7DE3D-F9F2-44A1-B586-EA10AD1AD11E}"/>
                </a:ext>
              </a:extLst>
            </p:cNvPr>
            <p:cNvSpPr/>
            <p:nvPr/>
          </p:nvSpPr>
          <p:spPr bwMode="auto">
            <a:xfrm>
              <a:off x="1057756" y="930127"/>
              <a:ext cx="1389667" cy="506476"/>
            </a:xfrm>
            <a:prstGeom prst="ellipse">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rPr>
                <a:t> </a:t>
              </a:r>
            </a:p>
          </p:txBody>
        </p:sp>
      </p:grpSp>
      <p:grpSp>
        <p:nvGrpSpPr>
          <p:cNvPr id="10" name="Group 9">
            <a:extLst>
              <a:ext uri="{FF2B5EF4-FFF2-40B4-BE49-F238E27FC236}">
                <a16:creationId xmlns:a16="http://schemas.microsoft.com/office/drawing/2014/main" id="{75523788-4610-4CF5-9822-8226797C3546}"/>
              </a:ext>
            </a:extLst>
          </p:cNvPr>
          <p:cNvGrpSpPr/>
          <p:nvPr/>
        </p:nvGrpSpPr>
        <p:grpSpPr>
          <a:xfrm>
            <a:off x="8507508" y="2862109"/>
            <a:ext cx="3001200" cy="904047"/>
            <a:chOff x="2873820" y="2478678"/>
            <a:chExt cx="3001200" cy="904047"/>
          </a:xfrm>
        </p:grpSpPr>
        <p:sp>
          <p:nvSpPr>
            <p:cNvPr id="11" name="Rectangle 10">
              <a:extLst>
                <a:ext uri="{FF2B5EF4-FFF2-40B4-BE49-F238E27FC236}">
                  <a16:creationId xmlns:a16="http://schemas.microsoft.com/office/drawing/2014/main" id="{A86BF706-02CF-473F-A102-65F07FB54921}"/>
                </a:ext>
              </a:extLst>
            </p:cNvPr>
            <p:cNvSpPr/>
            <p:nvPr/>
          </p:nvSpPr>
          <p:spPr>
            <a:xfrm>
              <a:off x="3424462" y="3068793"/>
              <a:ext cx="2327688" cy="313932"/>
            </a:xfrm>
            <a:prstGeom prst="rect">
              <a:avLst/>
            </a:prstGeom>
            <a:ln>
              <a:noFill/>
            </a:ln>
          </p:spPr>
          <p:txBody>
            <a:bodyPr wrap="none" anchor="ctr" anchorCtr="0">
              <a:spAutoFit/>
            </a:bodyPr>
            <a:lstStyle/>
            <a:p>
              <a:pPr marL="0" marR="0" lvl="0" indent="0" algn="l" defTabSz="93174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mn-cs"/>
                </a:rPr>
                <a:t>Ends January 14, 2020</a:t>
              </a:r>
            </a:p>
          </p:txBody>
        </p:sp>
        <p:sp>
          <p:nvSpPr>
            <p:cNvPr id="12" name="TextBox 18">
              <a:extLst>
                <a:ext uri="{FF2B5EF4-FFF2-40B4-BE49-F238E27FC236}">
                  <a16:creationId xmlns:a16="http://schemas.microsoft.com/office/drawing/2014/main" id="{2AB4735B-F3F4-4B52-BE1E-8A6B40CEEFCB}"/>
                </a:ext>
              </a:extLst>
            </p:cNvPr>
            <p:cNvSpPr txBox="1"/>
            <p:nvPr/>
          </p:nvSpPr>
          <p:spPr>
            <a:xfrm>
              <a:off x="2873820" y="2478678"/>
              <a:ext cx="3001200" cy="332399"/>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Windows Server</a:t>
              </a:r>
            </a:p>
          </p:txBody>
        </p:sp>
        <p:grpSp>
          <p:nvGrpSpPr>
            <p:cNvPr id="13" name="Group 12">
              <a:extLst>
                <a:ext uri="{FF2B5EF4-FFF2-40B4-BE49-F238E27FC236}">
                  <a16:creationId xmlns:a16="http://schemas.microsoft.com/office/drawing/2014/main" id="{A23050D0-B6BA-4989-886A-EECEE17A5E02}"/>
                </a:ext>
              </a:extLst>
            </p:cNvPr>
            <p:cNvGrpSpPr/>
            <p:nvPr/>
          </p:nvGrpSpPr>
          <p:grpSpPr>
            <a:xfrm>
              <a:off x="2928935" y="2962486"/>
              <a:ext cx="419100" cy="406400"/>
              <a:chOff x="2784345" y="1165238"/>
              <a:chExt cx="419100" cy="406400"/>
            </a:xfrm>
          </p:grpSpPr>
          <p:sp>
            <p:nvSpPr>
              <p:cNvPr id="14" name="AutoShape 116">
                <a:extLst>
                  <a:ext uri="{FF2B5EF4-FFF2-40B4-BE49-F238E27FC236}">
                    <a16:creationId xmlns:a16="http://schemas.microsoft.com/office/drawing/2014/main" id="{216488D7-59E1-441F-B8DD-E16CF1E6A642}"/>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 name="Freeform 118">
                <a:extLst>
                  <a:ext uri="{FF2B5EF4-FFF2-40B4-BE49-F238E27FC236}">
                    <a16:creationId xmlns:a16="http://schemas.microsoft.com/office/drawing/2014/main" id="{1476487A-1833-4FB1-9498-E90431C7EC20}"/>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 name="Freeform 119">
                <a:extLst>
                  <a:ext uri="{FF2B5EF4-FFF2-40B4-BE49-F238E27FC236}">
                    <a16:creationId xmlns:a16="http://schemas.microsoft.com/office/drawing/2014/main" id="{FE77A1C4-7CE4-4F77-839E-7680F245D70A}"/>
                  </a:ext>
                </a:extLst>
              </p:cNvPr>
              <p:cNvSpPr>
                <a:spLocks/>
              </p:cNvSpPr>
              <p:nvPr/>
            </p:nvSpPr>
            <p:spPr bwMode="auto">
              <a:xfrm>
                <a:off x="2861136"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20">
                <a:extLst>
                  <a:ext uri="{FF2B5EF4-FFF2-40B4-BE49-F238E27FC236}">
                    <a16:creationId xmlns:a16="http://schemas.microsoft.com/office/drawing/2014/main" id="{A373CD67-411F-4764-9630-509E518CA411}"/>
                  </a:ext>
                </a:extLst>
              </p:cNvPr>
              <p:cNvSpPr>
                <a:spLocks/>
              </p:cNvSpPr>
              <p:nvPr/>
            </p:nvSpPr>
            <p:spPr bwMode="auto">
              <a:xfrm>
                <a:off x="2940511"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121">
                <a:extLst>
                  <a:ext uri="{FF2B5EF4-FFF2-40B4-BE49-F238E27FC236}">
                    <a16:creationId xmlns:a16="http://schemas.microsoft.com/office/drawing/2014/main" id="{A56157DE-08B2-49DA-987A-5AD49244CF4A}"/>
                  </a:ext>
                </a:extLst>
              </p:cNvPr>
              <p:cNvSpPr>
                <a:spLocks/>
              </p:cNvSpPr>
              <p:nvPr/>
            </p:nvSpPr>
            <p:spPr bwMode="auto">
              <a:xfrm>
                <a:off x="3018298"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22">
                <a:extLst>
                  <a:ext uri="{FF2B5EF4-FFF2-40B4-BE49-F238E27FC236}">
                    <a16:creationId xmlns:a16="http://schemas.microsoft.com/office/drawing/2014/main" id="{51C50048-1EAE-4C08-ADA9-2BAE75E14650}"/>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123">
                <a:extLst>
                  <a:ext uri="{FF2B5EF4-FFF2-40B4-BE49-F238E27FC236}">
                    <a16:creationId xmlns:a16="http://schemas.microsoft.com/office/drawing/2014/main" id="{9DD7D4B5-69C3-4019-A2BA-A217DF134FB5}"/>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 name="Freeform 124">
                <a:extLst>
                  <a:ext uri="{FF2B5EF4-FFF2-40B4-BE49-F238E27FC236}">
                    <a16:creationId xmlns:a16="http://schemas.microsoft.com/office/drawing/2014/main" id="{5DE0EF57-C6BE-4291-ADD6-323485F247CC}"/>
                  </a:ext>
                </a:extLst>
              </p:cNvPr>
              <p:cNvSpPr>
                <a:spLocks/>
              </p:cNvSpPr>
              <p:nvPr/>
            </p:nvSpPr>
            <p:spPr bwMode="auto">
              <a:xfrm>
                <a:off x="2940511"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125">
                <a:extLst>
                  <a:ext uri="{FF2B5EF4-FFF2-40B4-BE49-F238E27FC236}">
                    <a16:creationId xmlns:a16="http://schemas.microsoft.com/office/drawing/2014/main" id="{D90247A3-75DD-4E0D-90E0-120F7ED55109}"/>
                  </a:ext>
                </a:extLst>
              </p:cNvPr>
              <p:cNvSpPr>
                <a:spLocks/>
              </p:cNvSpPr>
              <p:nvPr/>
            </p:nvSpPr>
            <p:spPr bwMode="auto">
              <a:xfrm>
                <a:off x="3097673"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20000"/>
                  <a:lumOff val="8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29B9C3CE-E8BE-4E50-8C29-DBFF010F6043}"/>
              </a:ext>
            </a:extLst>
          </p:cNvPr>
          <p:cNvGrpSpPr/>
          <p:nvPr/>
        </p:nvGrpSpPr>
        <p:grpSpPr>
          <a:xfrm>
            <a:off x="8507508" y="4222148"/>
            <a:ext cx="2384798" cy="884992"/>
            <a:chOff x="2873820" y="4211500"/>
            <a:chExt cx="2384798" cy="884992"/>
          </a:xfrm>
        </p:grpSpPr>
        <p:sp>
          <p:nvSpPr>
            <p:cNvPr id="24" name="TextBox 18">
              <a:extLst>
                <a:ext uri="{FF2B5EF4-FFF2-40B4-BE49-F238E27FC236}">
                  <a16:creationId xmlns:a16="http://schemas.microsoft.com/office/drawing/2014/main" id="{8F55CE6D-F622-4F02-822D-A4B19DFABCD6}"/>
                </a:ext>
              </a:extLst>
            </p:cNvPr>
            <p:cNvSpPr txBox="1"/>
            <p:nvPr/>
          </p:nvSpPr>
          <p:spPr>
            <a:xfrm flipH="1">
              <a:off x="2873820" y="4211500"/>
              <a:ext cx="2268617" cy="332399"/>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QL Server</a:t>
              </a:r>
            </a:p>
          </p:txBody>
        </p:sp>
        <p:sp>
          <p:nvSpPr>
            <p:cNvPr id="25" name="Rectangle 24">
              <a:extLst>
                <a:ext uri="{FF2B5EF4-FFF2-40B4-BE49-F238E27FC236}">
                  <a16:creationId xmlns:a16="http://schemas.microsoft.com/office/drawing/2014/main" id="{0C6FA15F-2160-4B44-AF8B-022D51B23987}"/>
                </a:ext>
              </a:extLst>
            </p:cNvPr>
            <p:cNvSpPr/>
            <p:nvPr/>
          </p:nvSpPr>
          <p:spPr>
            <a:xfrm>
              <a:off x="3424462" y="4782560"/>
              <a:ext cx="1834156" cy="313932"/>
            </a:xfrm>
            <a:prstGeom prst="rect">
              <a:avLst/>
            </a:prstGeom>
            <a:ln>
              <a:noFill/>
            </a:ln>
          </p:spPr>
          <p:txBody>
            <a:bodyPr wrap="none" anchor="ctr" anchorCtr="0">
              <a:spAutoFit/>
            </a:bodyPr>
            <a:lstStyle/>
            <a:p>
              <a:pPr marL="0" marR="0" lvl="0" indent="0" algn="l" defTabSz="93174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A1A"/>
                  </a:solidFill>
                  <a:effectLst/>
                  <a:uLnTx/>
                  <a:uFillTx/>
                  <a:latin typeface="Segoe UI"/>
                  <a:ea typeface="+mn-ea"/>
                  <a:cs typeface="+mn-cs"/>
                </a:rPr>
                <a:t>Ends July 9, 2019</a:t>
              </a:r>
            </a:p>
          </p:txBody>
        </p:sp>
        <p:grpSp>
          <p:nvGrpSpPr>
            <p:cNvPr id="26" name="Group 25">
              <a:extLst>
                <a:ext uri="{FF2B5EF4-FFF2-40B4-BE49-F238E27FC236}">
                  <a16:creationId xmlns:a16="http://schemas.microsoft.com/office/drawing/2014/main" id="{6BAF5B2C-4774-49C3-8D07-75DD4829EF78}"/>
                </a:ext>
              </a:extLst>
            </p:cNvPr>
            <p:cNvGrpSpPr/>
            <p:nvPr/>
          </p:nvGrpSpPr>
          <p:grpSpPr>
            <a:xfrm>
              <a:off x="2942793" y="4687370"/>
              <a:ext cx="419100" cy="406400"/>
              <a:chOff x="2784345" y="1165238"/>
              <a:chExt cx="419100" cy="406400"/>
            </a:xfrm>
          </p:grpSpPr>
          <p:sp>
            <p:nvSpPr>
              <p:cNvPr id="27" name="AutoShape 116">
                <a:extLst>
                  <a:ext uri="{FF2B5EF4-FFF2-40B4-BE49-F238E27FC236}">
                    <a16:creationId xmlns:a16="http://schemas.microsoft.com/office/drawing/2014/main" id="{C191D712-788D-4E2D-B301-9DA39389F654}"/>
                  </a:ext>
                </a:extLst>
              </p:cNvPr>
              <p:cNvSpPr>
                <a:spLocks noChangeAspect="1" noChangeArrowheads="1" noTextEdit="1"/>
              </p:cNvSpPr>
              <p:nvPr/>
            </p:nvSpPr>
            <p:spPr bwMode="auto">
              <a:xfrm>
                <a:off x="2784345" y="1165238"/>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118">
                <a:extLst>
                  <a:ext uri="{FF2B5EF4-FFF2-40B4-BE49-F238E27FC236}">
                    <a16:creationId xmlns:a16="http://schemas.microsoft.com/office/drawing/2014/main" id="{D345E905-8F46-4DDB-945E-998A74167144}"/>
                  </a:ext>
                </a:extLst>
              </p:cNvPr>
              <p:cNvSpPr>
                <a:spLocks noEditPoints="1"/>
              </p:cNvSpPr>
              <p:nvPr/>
            </p:nvSpPr>
            <p:spPr bwMode="auto">
              <a:xfrm>
                <a:off x="2784345" y="1173176"/>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119">
                <a:extLst>
                  <a:ext uri="{FF2B5EF4-FFF2-40B4-BE49-F238E27FC236}">
                    <a16:creationId xmlns:a16="http://schemas.microsoft.com/office/drawing/2014/main" id="{F1E2B717-CD9C-4126-B75B-E3512E5B6F1C}"/>
                  </a:ext>
                </a:extLst>
              </p:cNvPr>
              <p:cNvSpPr>
                <a:spLocks/>
              </p:cNvSpPr>
              <p:nvPr/>
            </p:nvSpPr>
            <p:spPr bwMode="auto">
              <a:xfrm>
                <a:off x="2860772"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120">
                <a:extLst>
                  <a:ext uri="{FF2B5EF4-FFF2-40B4-BE49-F238E27FC236}">
                    <a16:creationId xmlns:a16="http://schemas.microsoft.com/office/drawing/2014/main" id="{FBD37E28-2ED2-4D8C-999E-DAE86DB51A51}"/>
                  </a:ext>
                </a:extLst>
              </p:cNvPr>
              <p:cNvSpPr>
                <a:spLocks/>
              </p:cNvSpPr>
              <p:nvPr/>
            </p:nvSpPr>
            <p:spPr bwMode="auto">
              <a:xfrm>
                <a:off x="2940147" y="148908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 name="Freeform 121">
                <a:extLst>
                  <a:ext uri="{FF2B5EF4-FFF2-40B4-BE49-F238E27FC236}">
                    <a16:creationId xmlns:a16="http://schemas.microsoft.com/office/drawing/2014/main" id="{7DA5EAAB-7AA5-4D6E-A99E-121D53D25C65}"/>
                  </a:ext>
                </a:extLst>
              </p:cNvPr>
              <p:cNvSpPr>
                <a:spLocks/>
              </p:cNvSpPr>
              <p:nvPr/>
            </p:nvSpPr>
            <p:spPr bwMode="auto">
              <a:xfrm>
                <a:off x="3017934" y="1489088"/>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122">
                <a:extLst>
                  <a:ext uri="{FF2B5EF4-FFF2-40B4-BE49-F238E27FC236}">
                    <a16:creationId xmlns:a16="http://schemas.microsoft.com/office/drawing/2014/main" id="{E7CC6C7B-E2BE-4F1A-A4FE-1B85FB8B749F}"/>
                  </a:ext>
                </a:extLst>
              </p:cNvPr>
              <p:cNvSpPr>
                <a:spLocks/>
              </p:cNvSpPr>
              <p:nvPr/>
            </p:nvSpPr>
            <p:spPr bwMode="auto">
              <a:xfrm>
                <a:off x="2940147" y="1436701"/>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123">
                <a:extLst>
                  <a:ext uri="{FF2B5EF4-FFF2-40B4-BE49-F238E27FC236}">
                    <a16:creationId xmlns:a16="http://schemas.microsoft.com/office/drawing/2014/main" id="{99A93D54-FC76-4836-B5A8-C202E0DBF128}"/>
                  </a:ext>
                </a:extLst>
              </p:cNvPr>
              <p:cNvSpPr>
                <a:spLocks/>
              </p:cNvSpPr>
              <p:nvPr/>
            </p:nvSpPr>
            <p:spPr bwMode="auto">
              <a:xfrm>
                <a:off x="2940147" y="1384313"/>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124">
                <a:extLst>
                  <a:ext uri="{FF2B5EF4-FFF2-40B4-BE49-F238E27FC236}">
                    <a16:creationId xmlns:a16="http://schemas.microsoft.com/office/drawing/2014/main" id="{F52BDC2B-D856-4007-B0F9-CB41098CC888}"/>
                  </a:ext>
                </a:extLst>
              </p:cNvPr>
              <p:cNvSpPr>
                <a:spLocks/>
              </p:cNvSpPr>
              <p:nvPr/>
            </p:nvSpPr>
            <p:spPr bwMode="auto">
              <a:xfrm>
                <a:off x="2940147" y="1330338"/>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125">
                <a:extLst>
                  <a:ext uri="{FF2B5EF4-FFF2-40B4-BE49-F238E27FC236}">
                    <a16:creationId xmlns:a16="http://schemas.microsoft.com/office/drawing/2014/main" id="{9FACE137-96B9-49B0-838B-E8281B6141FE}"/>
                  </a:ext>
                </a:extLst>
              </p:cNvPr>
              <p:cNvSpPr>
                <a:spLocks/>
              </p:cNvSpPr>
              <p:nvPr/>
            </p:nvSpPr>
            <p:spPr bwMode="auto">
              <a:xfrm>
                <a:off x="3097309" y="1330338"/>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chemeClr val="accent1">
                  <a:lumMod val="60000"/>
                  <a:lumOff val="40000"/>
                </a:schemeClr>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9B005073-7DB0-4E2C-900C-8D531375B0A1}"/>
              </a:ext>
            </a:extLst>
          </p:cNvPr>
          <p:cNvGrpSpPr/>
          <p:nvPr/>
        </p:nvGrpSpPr>
        <p:grpSpPr>
          <a:xfrm>
            <a:off x="7563417" y="4150661"/>
            <a:ext cx="623289" cy="956479"/>
            <a:chOff x="10637157" y="527022"/>
            <a:chExt cx="349704" cy="536644"/>
          </a:xfrm>
        </p:grpSpPr>
        <p:sp>
          <p:nvSpPr>
            <p:cNvPr id="37" name="Rectangle 36">
              <a:extLst>
                <a:ext uri="{FF2B5EF4-FFF2-40B4-BE49-F238E27FC236}">
                  <a16:creationId xmlns:a16="http://schemas.microsoft.com/office/drawing/2014/main" id="{1301A29A-8932-4B0D-BD6A-ACC7D3476A6C}"/>
                </a:ext>
              </a:extLst>
            </p:cNvPr>
            <p:cNvSpPr/>
            <p:nvPr/>
          </p:nvSpPr>
          <p:spPr bwMode="auto">
            <a:xfrm>
              <a:off x="10637157" y="527022"/>
              <a:ext cx="349704" cy="536644"/>
            </a:xfrm>
            <a:prstGeom prst="rect">
              <a:avLst/>
            </a:prstGeom>
            <a:solidFill>
              <a:schemeClr val="accent6"/>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13">
              <a:extLst>
                <a:ext uri="{FF2B5EF4-FFF2-40B4-BE49-F238E27FC236}">
                  <a16:creationId xmlns:a16="http://schemas.microsoft.com/office/drawing/2014/main" id="{CB6BA651-3449-4447-9FA7-72E210B3C89A}"/>
                </a:ext>
              </a:extLst>
            </p:cNvPr>
            <p:cNvSpPr>
              <a:spLocks/>
            </p:cNvSpPr>
            <p:nvPr/>
          </p:nvSpPr>
          <p:spPr bwMode="auto">
            <a:xfrm>
              <a:off x="10690904" y="562263"/>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13">
              <a:extLst>
                <a:ext uri="{FF2B5EF4-FFF2-40B4-BE49-F238E27FC236}">
                  <a16:creationId xmlns:a16="http://schemas.microsoft.com/office/drawing/2014/main" id="{2A1278C5-0BF6-4DA3-9481-8B482B76588A}"/>
                </a:ext>
              </a:extLst>
            </p:cNvPr>
            <p:cNvSpPr>
              <a:spLocks/>
            </p:cNvSpPr>
            <p:nvPr/>
          </p:nvSpPr>
          <p:spPr bwMode="auto">
            <a:xfrm>
              <a:off x="10690904" y="776382"/>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13">
              <a:extLst>
                <a:ext uri="{FF2B5EF4-FFF2-40B4-BE49-F238E27FC236}">
                  <a16:creationId xmlns:a16="http://schemas.microsoft.com/office/drawing/2014/main" id="{1E60D4C9-EA4F-4272-A1CF-9954C00B6ECB}"/>
                </a:ext>
              </a:extLst>
            </p:cNvPr>
            <p:cNvSpPr>
              <a:spLocks/>
            </p:cNvSpPr>
            <p:nvPr/>
          </p:nvSpPr>
          <p:spPr bwMode="auto">
            <a:xfrm>
              <a:off x="10690904" y="864665"/>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13">
              <a:extLst>
                <a:ext uri="{FF2B5EF4-FFF2-40B4-BE49-F238E27FC236}">
                  <a16:creationId xmlns:a16="http://schemas.microsoft.com/office/drawing/2014/main" id="{31F2E541-030A-45B2-8C94-03F10626F007}"/>
                </a:ext>
              </a:extLst>
            </p:cNvPr>
            <p:cNvSpPr>
              <a:spLocks/>
            </p:cNvSpPr>
            <p:nvPr/>
          </p:nvSpPr>
          <p:spPr bwMode="auto">
            <a:xfrm>
              <a:off x="10690904" y="938694"/>
              <a:ext cx="233588" cy="45719"/>
            </a:xfrm>
            <a:custGeom>
              <a:avLst/>
              <a:gdLst>
                <a:gd name="T0" fmla="*/ 373 w 373"/>
                <a:gd name="T1" fmla="*/ 0 h 80"/>
                <a:gd name="T2" fmla="*/ 373 w 373"/>
                <a:gd name="T3" fmla="*/ 0 h 80"/>
                <a:gd name="T4" fmla="*/ 0 w 373"/>
                <a:gd name="T5" fmla="*/ 0 h 80"/>
                <a:gd name="T6" fmla="*/ 0 w 373"/>
                <a:gd name="T7" fmla="*/ 80 h 80"/>
                <a:gd name="T8" fmla="*/ 373 w 373"/>
                <a:gd name="T9" fmla="*/ 80 h 80"/>
                <a:gd name="T10" fmla="*/ 373 w 373"/>
                <a:gd name="T11" fmla="*/ 0 h 80"/>
              </a:gdLst>
              <a:ahLst/>
              <a:cxnLst>
                <a:cxn ang="0">
                  <a:pos x="T0" y="T1"/>
                </a:cxn>
                <a:cxn ang="0">
                  <a:pos x="T2" y="T3"/>
                </a:cxn>
                <a:cxn ang="0">
                  <a:pos x="T4" y="T5"/>
                </a:cxn>
                <a:cxn ang="0">
                  <a:pos x="T6" y="T7"/>
                </a:cxn>
                <a:cxn ang="0">
                  <a:pos x="T8" y="T9"/>
                </a:cxn>
                <a:cxn ang="0">
                  <a:pos x="T10" y="T11"/>
                </a:cxn>
              </a:cxnLst>
              <a:rect l="0" t="0" r="r" b="b"/>
              <a:pathLst>
                <a:path w="373" h="80">
                  <a:moveTo>
                    <a:pt x="373" y="0"/>
                  </a:moveTo>
                  <a:lnTo>
                    <a:pt x="373" y="0"/>
                  </a:lnTo>
                  <a:lnTo>
                    <a:pt x="0" y="0"/>
                  </a:lnTo>
                  <a:lnTo>
                    <a:pt x="0" y="80"/>
                  </a:lnTo>
                  <a:lnTo>
                    <a:pt x="373" y="80"/>
                  </a:lnTo>
                  <a:lnTo>
                    <a:pt x="37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3" name="Title 4">
            <a:extLst>
              <a:ext uri="{FF2B5EF4-FFF2-40B4-BE49-F238E27FC236}">
                <a16:creationId xmlns:a16="http://schemas.microsoft.com/office/drawing/2014/main" id="{1284566D-F425-4396-BBF4-F18E97C8C9D1}"/>
              </a:ext>
            </a:extLst>
          </p:cNvPr>
          <p:cNvSpPr txBox="1">
            <a:spLocks/>
          </p:cNvSpPr>
          <p:nvPr/>
        </p:nvSpPr>
        <p:spPr>
          <a:xfrm>
            <a:off x="94533" y="102250"/>
            <a:ext cx="6342215" cy="1526590"/>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EOS presents opportunity to modernize your infrastructure &amp; avoid business risk </a:t>
            </a:r>
            <a:endPar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45" name="Rectangle 44">
            <a:extLst>
              <a:ext uri="{FF2B5EF4-FFF2-40B4-BE49-F238E27FC236}">
                <a16:creationId xmlns:a16="http://schemas.microsoft.com/office/drawing/2014/main" id="{ECD5066B-FD4D-4900-B011-BE17B14C96B0}"/>
              </a:ext>
            </a:extLst>
          </p:cNvPr>
          <p:cNvSpPr/>
          <p:nvPr/>
        </p:nvSpPr>
        <p:spPr>
          <a:xfrm>
            <a:off x="1066200" y="2909913"/>
            <a:ext cx="2946514" cy="3139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No security updates </a:t>
            </a:r>
          </a:p>
        </p:txBody>
      </p:sp>
      <p:sp>
        <p:nvSpPr>
          <p:cNvPr id="46" name="Rectangle 45">
            <a:extLst>
              <a:ext uri="{FF2B5EF4-FFF2-40B4-BE49-F238E27FC236}">
                <a16:creationId xmlns:a16="http://schemas.microsoft.com/office/drawing/2014/main" id="{87A2DB09-74D7-46A6-B669-16C4C4E8F0A2}"/>
              </a:ext>
            </a:extLst>
          </p:cNvPr>
          <p:cNvSpPr/>
          <p:nvPr/>
        </p:nvSpPr>
        <p:spPr>
          <a:xfrm>
            <a:off x="4341433" y="2893469"/>
            <a:ext cx="3428398" cy="535531"/>
          </a:xfrm>
          <a:prstGeom prst="rect">
            <a:avLst/>
          </a:prstGeom>
        </p:spPr>
        <p:txBody>
          <a:bodyPr wrap="square">
            <a:spAutoFit/>
          </a:bodyPr>
          <a:lstStyle/>
          <a:p>
            <a:pPr marL="0" marR="0" lvl="0" indent="0" algn="l" defTabSz="913927" rtl="0" eaLnBrk="0" fontAlgn="base" latinLnBrk="0" hangingPunct="0">
              <a:lnSpc>
                <a:spcPct val="90000"/>
              </a:lnSpc>
              <a:spcBef>
                <a:spcPts val="0"/>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Compliance &amp; </a:t>
            </a:r>
          </a:p>
          <a:p>
            <a:pPr marL="0" marR="0" lvl="0" indent="0" algn="l" defTabSz="913927" rtl="0" eaLnBrk="0" fontAlgn="base" latinLnBrk="0" hangingPunct="0">
              <a:lnSpc>
                <a:spcPct val="90000"/>
              </a:lnSpc>
              <a:spcBef>
                <a:spcPts val="0"/>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r</a:t>
            </a:r>
            <a:r>
              <a:rPr kumimoji="0" lang="en-US" sz="1600" b="1" i="0" u="none" strike="noStrike" kern="0" cap="none" spc="0" normalizeH="0" baseline="0" noProof="0" err="1">
                <a:ln>
                  <a:noFill/>
                </a:ln>
                <a:solidFill>
                  <a:srgbClr val="000000"/>
                </a:solidFill>
                <a:effectLst/>
                <a:uLnTx/>
                <a:uFillTx/>
                <a:latin typeface="Segoe UI Semibold" charset="0"/>
                <a:ea typeface="+mn-ea"/>
                <a:cs typeface="Segoe UI Semibold" charset="0"/>
              </a:rPr>
              <a:t>egulatory</a:t>
            </a: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 concerns</a:t>
            </a:r>
          </a:p>
        </p:txBody>
      </p:sp>
      <p:sp>
        <p:nvSpPr>
          <p:cNvPr id="47" name="Rectangle 46">
            <a:extLst>
              <a:ext uri="{FF2B5EF4-FFF2-40B4-BE49-F238E27FC236}">
                <a16:creationId xmlns:a16="http://schemas.microsoft.com/office/drawing/2014/main" id="{E117F8B4-A1C7-4539-B1E2-E436CB3C4CFA}"/>
              </a:ext>
            </a:extLst>
          </p:cNvPr>
          <p:cNvSpPr/>
          <p:nvPr/>
        </p:nvSpPr>
        <p:spPr>
          <a:xfrm>
            <a:off x="4397239" y="4198161"/>
            <a:ext cx="1717398" cy="757130"/>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Missed innovation opportunities</a:t>
            </a:r>
          </a:p>
        </p:txBody>
      </p:sp>
      <p:grpSp>
        <p:nvGrpSpPr>
          <p:cNvPr id="48" name="Group 47">
            <a:extLst>
              <a:ext uri="{FF2B5EF4-FFF2-40B4-BE49-F238E27FC236}">
                <a16:creationId xmlns:a16="http://schemas.microsoft.com/office/drawing/2014/main" id="{842AE3FD-E81E-485C-88AB-3BD59C47D6C3}"/>
              </a:ext>
            </a:extLst>
          </p:cNvPr>
          <p:cNvGrpSpPr/>
          <p:nvPr/>
        </p:nvGrpSpPr>
        <p:grpSpPr>
          <a:xfrm flipH="1">
            <a:off x="385605" y="2623163"/>
            <a:ext cx="566608" cy="752779"/>
            <a:chOff x="5322936" y="1573423"/>
            <a:chExt cx="311642" cy="414039"/>
          </a:xfrm>
        </p:grpSpPr>
        <p:sp>
          <p:nvSpPr>
            <p:cNvPr id="49" name="Freeform: Shape 16">
              <a:extLst>
                <a:ext uri="{FF2B5EF4-FFF2-40B4-BE49-F238E27FC236}">
                  <a16:creationId xmlns:a16="http://schemas.microsoft.com/office/drawing/2014/main" id="{99248EF3-D39B-42F0-A913-84502EE9B740}"/>
                </a:ext>
              </a:extLst>
            </p:cNvPr>
            <p:cNvSpPr/>
            <p:nvPr/>
          </p:nvSpPr>
          <p:spPr>
            <a:xfrm>
              <a:off x="5322936" y="1752140"/>
              <a:ext cx="311642" cy="235322"/>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Shape 17">
              <a:extLst>
                <a:ext uri="{FF2B5EF4-FFF2-40B4-BE49-F238E27FC236}">
                  <a16:creationId xmlns:a16="http://schemas.microsoft.com/office/drawing/2014/main" id="{D13DE79B-08B5-4B0B-A932-17EF304A1E89}"/>
                </a:ext>
              </a:extLst>
            </p:cNvPr>
            <p:cNvSpPr/>
            <p:nvPr/>
          </p:nvSpPr>
          <p:spPr>
            <a:xfrm>
              <a:off x="5450773" y="1847541"/>
              <a:ext cx="57240" cy="5724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18">
              <a:extLst>
                <a:ext uri="{FF2B5EF4-FFF2-40B4-BE49-F238E27FC236}">
                  <a16:creationId xmlns:a16="http://schemas.microsoft.com/office/drawing/2014/main" id="{8E9276B8-4041-4AC4-97B9-20DC06306EB1}"/>
                </a:ext>
              </a:extLst>
            </p:cNvPr>
            <p:cNvSpPr/>
            <p:nvPr/>
          </p:nvSpPr>
          <p:spPr>
            <a:xfrm>
              <a:off x="5373816" y="1573423"/>
              <a:ext cx="209882" cy="18444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881" h="184441">
                  <a:moveTo>
                    <a:pt x="201932" y="68371"/>
                  </a:moveTo>
                  <a:cubicBezTo>
                    <a:pt x="196844" y="55650"/>
                    <a:pt x="189847" y="44838"/>
                    <a:pt x="180307" y="35298"/>
                  </a:cubicBezTo>
                  <a:cubicBezTo>
                    <a:pt x="171403" y="25758"/>
                    <a:pt x="160591" y="18126"/>
                    <a:pt x="147871" y="13038"/>
                  </a:cubicBezTo>
                  <a:cubicBezTo>
                    <a:pt x="135151" y="7314"/>
                    <a:pt x="121795" y="4770"/>
                    <a:pt x="107167" y="4770"/>
                  </a:cubicBezTo>
                  <a:cubicBezTo>
                    <a:pt x="92539" y="4770"/>
                    <a:pt x="79183" y="7314"/>
                    <a:pt x="66463" y="13038"/>
                  </a:cubicBezTo>
                  <a:cubicBezTo>
                    <a:pt x="53743" y="18762"/>
                    <a:pt x="42930" y="25758"/>
                    <a:pt x="34026" y="35298"/>
                  </a:cubicBezTo>
                  <a:cubicBezTo>
                    <a:pt x="25122" y="44838"/>
                    <a:pt x="17490" y="55650"/>
                    <a:pt x="12402" y="68371"/>
                  </a:cubicBezTo>
                  <a:cubicBezTo>
                    <a:pt x="7314" y="80455"/>
                    <a:pt x="4770" y="93175"/>
                    <a:pt x="4770" y="107167"/>
                  </a:cubicBezTo>
                  <a:lnTo>
                    <a:pt x="30210" y="107167"/>
                  </a:lnTo>
                  <a:cubicBezTo>
                    <a:pt x="30210" y="96991"/>
                    <a:pt x="32118" y="87451"/>
                    <a:pt x="35934" y="78547"/>
                  </a:cubicBezTo>
                  <a:cubicBezTo>
                    <a:pt x="39750" y="69007"/>
                    <a:pt x="45474" y="60738"/>
                    <a:pt x="51834" y="53742"/>
                  </a:cubicBezTo>
                  <a:cubicBezTo>
                    <a:pt x="58830" y="46746"/>
                    <a:pt x="67098" y="41022"/>
                    <a:pt x="76003" y="36570"/>
                  </a:cubicBezTo>
                  <a:cubicBezTo>
                    <a:pt x="85543" y="32754"/>
                    <a:pt x="95719" y="30210"/>
                    <a:pt x="106531" y="30210"/>
                  </a:cubicBezTo>
                  <a:cubicBezTo>
                    <a:pt x="117343" y="30210"/>
                    <a:pt x="127519" y="32118"/>
                    <a:pt x="137059" y="36570"/>
                  </a:cubicBezTo>
                  <a:cubicBezTo>
                    <a:pt x="146599" y="40386"/>
                    <a:pt x="154867" y="46110"/>
                    <a:pt x="161227" y="53742"/>
                  </a:cubicBezTo>
                  <a:cubicBezTo>
                    <a:pt x="168223" y="60738"/>
                    <a:pt x="173311" y="69007"/>
                    <a:pt x="177127" y="78547"/>
                  </a:cubicBezTo>
                  <a:cubicBezTo>
                    <a:pt x="180944" y="88087"/>
                    <a:pt x="182851" y="98263"/>
                    <a:pt x="182851" y="109075"/>
                  </a:cubicBezTo>
                  <a:lnTo>
                    <a:pt x="182851" y="183487"/>
                  </a:lnTo>
                  <a:lnTo>
                    <a:pt x="208292" y="183487"/>
                  </a:lnTo>
                  <a:lnTo>
                    <a:pt x="208292" y="109075"/>
                  </a:lnTo>
                  <a:cubicBezTo>
                    <a:pt x="209564" y="94447"/>
                    <a:pt x="207020" y="81091"/>
                    <a:pt x="201932" y="68371"/>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2" name="Group 51">
            <a:extLst>
              <a:ext uri="{FF2B5EF4-FFF2-40B4-BE49-F238E27FC236}">
                <a16:creationId xmlns:a16="http://schemas.microsoft.com/office/drawing/2014/main" id="{28EADA29-1AD5-4FBA-A009-395BB45752B0}"/>
              </a:ext>
            </a:extLst>
          </p:cNvPr>
          <p:cNvGrpSpPr/>
          <p:nvPr/>
        </p:nvGrpSpPr>
        <p:grpSpPr>
          <a:xfrm>
            <a:off x="3564751" y="2762757"/>
            <a:ext cx="669072" cy="741621"/>
            <a:chOff x="6677416" y="3423977"/>
            <a:chExt cx="828284" cy="918097"/>
          </a:xfrm>
        </p:grpSpPr>
        <p:grpSp>
          <p:nvGrpSpPr>
            <p:cNvPr id="53" name="Group 52">
              <a:extLst>
                <a:ext uri="{FF2B5EF4-FFF2-40B4-BE49-F238E27FC236}">
                  <a16:creationId xmlns:a16="http://schemas.microsoft.com/office/drawing/2014/main" id="{5DADD2A8-66D8-4578-BD47-ECFA01A2B1D4}"/>
                </a:ext>
              </a:extLst>
            </p:cNvPr>
            <p:cNvGrpSpPr/>
            <p:nvPr/>
          </p:nvGrpSpPr>
          <p:grpSpPr>
            <a:xfrm>
              <a:off x="6677416" y="3423977"/>
              <a:ext cx="675883" cy="918097"/>
              <a:chOff x="9865117" y="528378"/>
              <a:chExt cx="525792" cy="714219"/>
            </a:xfrm>
          </p:grpSpPr>
          <p:sp>
            <p:nvSpPr>
              <p:cNvPr id="59" name="Rectangle 58">
                <a:extLst>
                  <a:ext uri="{FF2B5EF4-FFF2-40B4-BE49-F238E27FC236}">
                    <a16:creationId xmlns:a16="http://schemas.microsoft.com/office/drawing/2014/main" id="{40ED4552-E030-489F-B6CE-F58A9C51FA9B}"/>
                  </a:ext>
                </a:extLst>
              </p:cNvPr>
              <p:cNvSpPr/>
              <p:nvPr/>
            </p:nvSpPr>
            <p:spPr>
              <a:xfrm>
                <a:off x="9865117" y="615932"/>
                <a:ext cx="525792" cy="626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42169B04-1BB4-4BA0-8E01-FFAEF1A542CC}"/>
                  </a:ext>
                </a:extLst>
              </p:cNvPr>
              <p:cNvSpPr/>
              <p:nvPr/>
            </p:nvSpPr>
            <p:spPr>
              <a:xfrm>
                <a:off x="9920195" y="580962"/>
                <a:ext cx="415636" cy="73299"/>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Rounded Rectangle 54">
                <a:extLst>
                  <a:ext uri="{FF2B5EF4-FFF2-40B4-BE49-F238E27FC236}">
                    <a16:creationId xmlns:a16="http://schemas.microsoft.com/office/drawing/2014/main" id="{DFA35FA5-AB3C-4FB2-A128-885F8879FBE5}"/>
                  </a:ext>
                </a:extLst>
              </p:cNvPr>
              <p:cNvSpPr/>
              <p:nvPr/>
            </p:nvSpPr>
            <p:spPr>
              <a:xfrm>
                <a:off x="10013264" y="528378"/>
                <a:ext cx="229497" cy="71717"/>
              </a:xfrm>
              <a:prstGeom prst="roundRect">
                <a:avLst/>
              </a:prstGeom>
              <a:solidFill>
                <a:srgbClr val="50E6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32C06531-D981-4E86-B2C8-419D182C4658}"/>
                </a:ext>
              </a:extLst>
            </p:cNvPr>
            <p:cNvGrpSpPr/>
            <p:nvPr/>
          </p:nvGrpSpPr>
          <p:grpSpPr>
            <a:xfrm>
              <a:off x="7033835" y="3810000"/>
              <a:ext cx="471865" cy="428997"/>
              <a:chOff x="475731" y="1805172"/>
              <a:chExt cx="303387" cy="275825"/>
            </a:xfrm>
          </p:grpSpPr>
          <p:sp>
            <p:nvSpPr>
              <p:cNvPr id="55" name="Freeform 5">
                <a:extLst>
                  <a:ext uri="{FF2B5EF4-FFF2-40B4-BE49-F238E27FC236}">
                    <a16:creationId xmlns:a16="http://schemas.microsoft.com/office/drawing/2014/main" id="{455233C6-0B31-428C-BDAB-8902877F4A06}"/>
                  </a:ext>
                </a:extLst>
              </p:cNvPr>
              <p:cNvSpPr>
                <a:spLocks noEditPoints="1"/>
              </p:cNvSpPr>
              <p:nvPr/>
            </p:nvSpPr>
            <p:spPr bwMode="auto">
              <a:xfrm>
                <a:off x="475731" y="1805172"/>
                <a:ext cx="303387" cy="275825"/>
              </a:xfrm>
              <a:prstGeom prst="triangle">
                <a:avLst/>
              </a:prstGeom>
              <a:solidFill>
                <a:srgbClr val="50E6F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13633C52-E0EF-4DAA-B9EC-C53F2DF443E0}"/>
                  </a:ext>
                </a:extLst>
              </p:cNvPr>
              <p:cNvGrpSpPr/>
              <p:nvPr/>
            </p:nvGrpSpPr>
            <p:grpSpPr>
              <a:xfrm>
                <a:off x="627425" y="1886738"/>
                <a:ext cx="0" cy="160367"/>
                <a:chOff x="4791447" y="2616042"/>
                <a:chExt cx="0" cy="1427764"/>
              </a:xfrm>
              <a:solidFill>
                <a:srgbClr val="0078D7"/>
              </a:solidFill>
            </p:grpSpPr>
            <p:cxnSp>
              <p:nvCxnSpPr>
                <p:cNvPr id="57" name="Straight Connector 56">
                  <a:extLst>
                    <a:ext uri="{FF2B5EF4-FFF2-40B4-BE49-F238E27FC236}">
                      <a16:creationId xmlns:a16="http://schemas.microsoft.com/office/drawing/2014/main" id="{8B6A342F-7EFB-4A96-A0AF-ECAF19D24D04}"/>
                    </a:ext>
                  </a:extLst>
                </p:cNvPr>
                <p:cNvCxnSpPr>
                  <a:cxnSpLocks/>
                </p:cNvCxnSpPr>
                <p:nvPr/>
              </p:nvCxnSpPr>
              <p:spPr>
                <a:xfrm>
                  <a:off x="4791447" y="2616042"/>
                  <a:ext cx="0" cy="1030199"/>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6B3962B-5981-4978-8EFB-0133DD8F0225}"/>
                    </a:ext>
                  </a:extLst>
                </p:cNvPr>
                <p:cNvCxnSpPr>
                  <a:cxnSpLocks/>
                </p:cNvCxnSpPr>
                <p:nvPr/>
              </p:nvCxnSpPr>
              <p:spPr>
                <a:xfrm>
                  <a:off x="4791447" y="3793908"/>
                  <a:ext cx="0" cy="249898"/>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62" name="Group 61">
            <a:extLst>
              <a:ext uri="{FF2B5EF4-FFF2-40B4-BE49-F238E27FC236}">
                <a16:creationId xmlns:a16="http://schemas.microsoft.com/office/drawing/2014/main" id="{4BEE3917-7524-4A67-BAA9-3494E98E95B0}"/>
              </a:ext>
            </a:extLst>
          </p:cNvPr>
          <p:cNvGrpSpPr/>
          <p:nvPr/>
        </p:nvGrpSpPr>
        <p:grpSpPr>
          <a:xfrm>
            <a:off x="3757533" y="4077267"/>
            <a:ext cx="459590" cy="714074"/>
            <a:chOff x="8963810" y="4164172"/>
            <a:chExt cx="408796" cy="635154"/>
          </a:xfrm>
        </p:grpSpPr>
        <p:sp>
          <p:nvSpPr>
            <p:cNvPr id="63" name="Freeform: Shape 276">
              <a:extLst>
                <a:ext uri="{FF2B5EF4-FFF2-40B4-BE49-F238E27FC236}">
                  <a16:creationId xmlns:a16="http://schemas.microsoft.com/office/drawing/2014/main" id="{AA60610A-77B0-4BFA-B755-9F37C399E423}"/>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DA1AA463-36F6-4B77-87B0-4985D40E4BA8}"/>
                </a:ext>
              </a:extLst>
            </p:cNvPr>
            <p:cNvGrpSpPr/>
            <p:nvPr/>
          </p:nvGrpSpPr>
          <p:grpSpPr>
            <a:xfrm>
              <a:off x="9041957" y="4599064"/>
              <a:ext cx="252505" cy="200262"/>
              <a:chOff x="9029332" y="4599064"/>
              <a:chExt cx="277755" cy="200262"/>
            </a:xfrm>
          </p:grpSpPr>
          <p:sp>
            <p:nvSpPr>
              <p:cNvPr id="65" name="Rectangle 64">
                <a:extLst>
                  <a:ext uri="{FF2B5EF4-FFF2-40B4-BE49-F238E27FC236}">
                    <a16:creationId xmlns:a16="http://schemas.microsoft.com/office/drawing/2014/main" id="{6E65351A-6E7A-4778-B171-5E3DC060084B}"/>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5FF28A2B-6CBA-4380-8663-415308574DDF}"/>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6">
                <a:extLst>
                  <a:ext uri="{FF2B5EF4-FFF2-40B4-BE49-F238E27FC236}">
                    <a16:creationId xmlns:a16="http://schemas.microsoft.com/office/drawing/2014/main" id="{723A18A0-DD51-4E25-93D6-7330EDC3ACA2}"/>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68" name="Rectangle 67">
            <a:extLst>
              <a:ext uri="{FF2B5EF4-FFF2-40B4-BE49-F238E27FC236}">
                <a16:creationId xmlns:a16="http://schemas.microsoft.com/office/drawing/2014/main" id="{FB48A145-6833-4AC2-A959-4B6D28B2EA78}"/>
              </a:ext>
            </a:extLst>
          </p:cNvPr>
          <p:cNvSpPr/>
          <p:nvPr/>
        </p:nvSpPr>
        <p:spPr>
          <a:xfrm>
            <a:off x="1087753" y="4195658"/>
            <a:ext cx="1717398" cy="757130"/>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Segoe UI Semibold" charset="0"/>
                <a:ea typeface="+mn-ea"/>
                <a:cs typeface="Segoe UI Semibold" charset="0"/>
              </a:rPr>
              <a:t>Additional cost for support + patches</a:t>
            </a:r>
          </a:p>
        </p:txBody>
      </p:sp>
      <p:sp>
        <p:nvSpPr>
          <p:cNvPr id="69" name="TextBox 68">
            <a:extLst>
              <a:ext uri="{FF2B5EF4-FFF2-40B4-BE49-F238E27FC236}">
                <a16:creationId xmlns:a16="http://schemas.microsoft.com/office/drawing/2014/main" id="{40684C44-18A5-471C-B055-811373DF7E00}"/>
              </a:ext>
            </a:extLst>
          </p:cNvPr>
          <p:cNvSpPr txBox="1"/>
          <p:nvPr/>
        </p:nvSpPr>
        <p:spPr>
          <a:xfrm>
            <a:off x="249221" y="3970703"/>
            <a:ext cx="882293" cy="1126462"/>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6000" b="0" i="0" u="none" strike="noStrike" kern="1200" cap="none" spc="0" normalizeH="0" baseline="0" noProof="0">
                <a:ln>
                  <a:noFill/>
                </a:ln>
                <a:solidFill>
                  <a:srgbClr val="0078D7"/>
                </a:solidFill>
                <a:effectLst/>
                <a:uLnTx/>
                <a:uFillTx/>
                <a:latin typeface="Arial Black" panose="020B0A04020102020204" pitchFamily="34" charset="0"/>
                <a:ea typeface="+mn-ea"/>
                <a:cs typeface="+mn-cs"/>
              </a:rPr>
              <a:t>$</a:t>
            </a:r>
            <a:endParaRPr kumimoji="0" lang="en-AU" sz="2800" b="0" i="0" u="none" strike="noStrike" kern="1200" cap="none" spc="0" normalizeH="0" baseline="0" noProof="0">
              <a:ln>
                <a:noFill/>
              </a:ln>
              <a:solidFill>
                <a:srgbClr val="0078D7"/>
              </a:solidFill>
              <a:effectLst/>
              <a:uLnTx/>
              <a:uFillTx/>
              <a:latin typeface="Arial Black" panose="020B0A04020102020204" pitchFamily="34" charset="0"/>
              <a:ea typeface="+mn-ea"/>
              <a:cs typeface="+mn-cs"/>
            </a:endParaRPr>
          </a:p>
        </p:txBody>
      </p:sp>
      <p:sp>
        <p:nvSpPr>
          <p:cNvPr id="70" name="Rectangle 69">
            <a:extLst>
              <a:ext uri="{FF2B5EF4-FFF2-40B4-BE49-F238E27FC236}">
                <a16:creationId xmlns:a16="http://schemas.microsoft.com/office/drawing/2014/main" id="{E0C0A154-1596-40D7-BB42-A0595EB759D9}"/>
              </a:ext>
            </a:extLst>
          </p:cNvPr>
          <p:cNvSpPr/>
          <p:nvPr>
            <p:custDataLst>
              <p:tags r:id="rId2"/>
            </p:custDataLst>
          </p:nvPr>
        </p:nvSpPr>
        <p:spPr>
          <a:xfrm>
            <a:off x="-1897581" y="6528478"/>
            <a:ext cx="5779487" cy="229003"/>
          </a:xfrm>
          <a:prstGeom prst="rect">
            <a:avLst/>
          </a:prstGeom>
          <a:noFill/>
          <a:ln w="6350" cap="flat" cmpd="sng" algn="ctr">
            <a:noFill/>
            <a:prstDash val="solid"/>
            <a:headEnd type="none" w="med" len="med"/>
            <a:tailEnd type="none" w="med" len="med"/>
          </a:ln>
          <a:effectLst/>
        </p:spPr>
        <p:txBody>
          <a:bodyPr lIns="91440" tIns="44814" rIns="89630" bIns="44814" spcCol="182880" anchor="ctr">
            <a:spAutoFit/>
          </a:bodyPr>
          <a:lstStyle/>
          <a:p>
            <a:pPr marL="0" marR="0" lvl="0" indent="0" algn="r" defTabSz="896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rPr>
              <a:t>Find lifecycle support deadlines at: </a:t>
            </a: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hlinkClick r:id="rId4"/>
              </a:rPr>
              <a:t>support.microsoft.com/lifecycle</a:t>
            </a:r>
            <a:r>
              <a:rPr kumimoji="0" lang="en-US" sz="9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rPr>
              <a:t> </a:t>
            </a:r>
          </a:p>
        </p:txBody>
      </p:sp>
      <p:sp>
        <p:nvSpPr>
          <p:cNvPr id="71" name="TextBox 70">
            <a:extLst>
              <a:ext uri="{FF2B5EF4-FFF2-40B4-BE49-F238E27FC236}">
                <a16:creationId xmlns:a16="http://schemas.microsoft.com/office/drawing/2014/main" id="{274B1CCA-DEAD-4487-8770-763DE8A7D7F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17812381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A7DFB964-CE34-4CA8-AB2E-EFAF036262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530" y="0"/>
            <a:ext cx="9350719" cy="6109136"/>
          </a:xfrm>
          <a:prstGeom prst="rect">
            <a:avLst/>
          </a:prstGeom>
        </p:spPr>
      </p:pic>
      <p:sp>
        <p:nvSpPr>
          <p:cNvPr id="4" name="Rectangle 3">
            <a:extLst>
              <a:ext uri="{FF2B5EF4-FFF2-40B4-BE49-F238E27FC236}">
                <a16:creationId xmlns:a16="http://schemas.microsoft.com/office/drawing/2014/main" id="{425FAA85-1E2E-43CD-B949-DB9E5F5012E8}"/>
              </a:ext>
            </a:extLst>
          </p:cNvPr>
          <p:cNvSpPr/>
          <p:nvPr/>
        </p:nvSpPr>
        <p:spPr>
          <a:xfrm>
            <a:off x="5522889" y="6109136"/>
            <a:ext cx="5951309" cy="461665"/>
          </a:xfrm>
          <a:prstGeom prst="rect">
            <a:avLst/>
          </a:prstGeom>
        </p:spPr>
        <p:txBody>
          <a:bodyPr wrap="none">
            <a:spAutoFit/>
          </a:bodyPr>
          <a:lstStyle/>
          <a:p>
            <a:r>
              <a:rPr lang="en-GB" sz="2400" u="sng" dirty="0">
                <a:solidFill>
                  <a:srgbClr val="0070C0"/>
                </a:solidFill>
              </a:rPr>
              <a:t>https://www.microsoft.com/upgradecenter</a:t>
            </a:r>
          </a:p>
        </p:txBody>
      </p:sp>
    </p:spTree>
    <p:extLst>
      <p:ext uri="{BB962C8B-B14F-4D97-AF65-F5344CB8AC3E}">
        <p14:creationId xmlns:p14="http://schemas.microsoft.com/office/powerpoint/2010/main" val="27580288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56F002-AEB3-490E-9ADC-9374457410EB}"/>
              </a:ext>
            </a:extLst>
          </p:cNvPr>
          <p:cNvSpPr>
            <a:spLocks noGrp="1"/>
          </p:cNvSpPr>
          <p:nvPr>
            <p:ph type="title"/>
          </p:nvPr>
        </p:nvSpPr>
        <p:spPr/>
        <p:txBody>
          <a:bodyPr/>
          <a:lstStyle/>
          <a:p>
            <a:r>
              <a:rPr lang="en-US"/>
              <a:t>Extended security updates, free  </a:t>
            </a:r>
            <a:br>
              <a:rPr lang="en-US"/>
            </a:br>
            <a:r>
              <a:rPr lang="en-US"/>
              <a:t>only on Azure</a:t>
            </a:r>
          </a:p>
        </p:txBody>
      </p:sp>
      <p:sp>
        <p:nvSpPr>
          <p:cNvPr id="24" name="Text Placeholder 23">
            <a:extLst>
              <a:ext uri="{FF2B5EF4-FFF2-40B4-BE49-F238E27FC236}">
                <a16:creationId xmlns:a16="http://schemas.microsoft.com/office/drawing/2014/main" id="{22580556-0A31-4F27-AD9A-94B40965C9C9}"/>
              </a:ext>
            </a:extLst>
          </p:cNvPr>
          <p:cNvSpPr>
            <a:spLocks noGrp="1"/>
          </p:cNvSpPr>
          <p:nvPr>
            <p:ph type="body" sz="quarter" idx="10"/>
          </p:nvPr>
        </p:nvSpPr>
        <p:spPr/>
        <p:txBody>
          <a:bodyPr/>
          <a:lstStyle/>
          <a:p>
            <a:r>
              <a:rPr lang="en-US"/>
              <a:t>3 years of security updates after support ends</a:t>
            </a:r>
          </a:p>
          <a:p>
            <a:r>
              <a:rPr lang="en-US"/>
              <a:t>75% of the license cost to buy standalone</a:t>
            </a:r>
          </a:p>
          <a:p>
            <a:r>
              <a:rPr lang="en-US"/>
              <a:t>Reuse existing licenses with Azure Hybrid Benefit</a:t>
            </a:r>
          </a:p>
          <a:p>
            <a:endParaRPr lang="en-US"/>
          </a:p>
        </p:txBody>
      </p:sp>
      <p:sp>
        <p:nvSpPr>
          <p:cNvPr id="4" name="Text Placeholder 3">
            <a:extLst>
              <a:ext uri="{FF2B5EF4-FFF2-40B4-BE49-F238E27FC236}">
                <a16:creationId xmlns:a16="http://schemas.microsoft.com/office/drawing/2014/main" id="{5FAFC6B1-9F56-4C5B-A757-F5E5C8366FCF}"/>
              </a:ext>
            </a:extLst>
          </p:cNvPr>
          <p:cNvSpPr>
            <a:spLocks noGrp="1"/>
          </p:cNvSpPr>
          <p:nvPr>
            <p:ph type="body" sz="quarter" idx="11"/>
          </p:nvPr>
        </p:nvSpPr>
        <p:spPr/>
        <p:txBody>
          <a:bodyPr/>
          <a:lstStyle/>
          <a:p>
            <a:r>
              <a:rPr lang="en-US"/>
              <a:t>Pay less with Azure. AWS is 5x </a:t>
            </a:r>
          </a:p>
          <a:p>
            <a:r>
              <a:rPr lang="en-US"/>
              <a:t>more expensive. </a:t>
            </a:r>
          </a:p>
        </p:txBody>
      </p:sp>
      <p:grpSp>
        <p:nvGrpSpPr>
          <p:cNvPr id="58" name="Graphic 40">
            <a:extLst>
              <a:ext uri="{FF2B5EF4-FFF2-40B4-BE49-F238E27FC236}">
                <a16:creationId xmlns:a16="http://schemas.microsoft.com/office/drawing/2014/main" id="{2218A8D9-7452-43D4-BEF7-8DB62B160CB2}"/>
              </a:ext>
            </a:extLst>
          </p:cNvPr>
          <p:cNvGrpSpPr/>
          <p:nvPr/>
        </p:nvGrpSpPr>
        <p:grpSpPr>
          <a:xfrm>
            <a:off x="241025" y="3877653"/>
            <a:ext cx="4744924" cy="2531136"/>
            <a:chOff x="5992280" y="1440372"/>
            <a:chExt cx="5537089" cy="2953709"/>
          </a:xfrm>
        </p:grpSpPr>
        <p:sp>
          <p:nvSpPr>
            <p:cNvPr id="59" name="Freeform: Shape 58">
              <a:extLst>
                <a:ext uri="{FF2B5EF4-FFF2-40B4-BE49-F238E27FC236}">
                  <a16:creationId xmlns:a16="http://schemas.microsoft.com/office/drawing/2014/main" id="{3AF3078F-4A99-444C-B1C5-851ABFF22A76}"/>
                </a:ext>
              </a:extLst>
            </p:cNvPr>
            <p:cNvSpPr/>
            <p:nvPr/>
          </p:nvSpPr>
          <p:spPr>
            <a:xfrm>
              <a:off x="5992280" y="3154005"/>
              <a:ext cx="2117149" cy="1235957"/>
            </a:xfrm>
            <a:custGeom>
              <a:avLst/>
              <a:gdLst>
                <a:gd name="connsiteX0" fmla="*/ 775914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4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4" y="10307"/>
                  </a:moveTo>
                  <a:lnTo>
                    <a:pt x="2114867" y="783924"/>
                  </a:lnTo>
                  <a:lnTo>
                    <a:pt x="1350405" y="1230242"/>
                  </a:lnTo>
                  <a:lnTo>
                    <a:pt x="10307" y="456625"/>
                  </a:lnTo>
                  <a:lnTo>
                    <a:pt x="775914" y="10307"/>
                  </a:lnTo>
                </a:path>
              </a:pathLst>
            </a:custGeom>
            <a:gradFill flip="none" rotWithShape="1">
              <a:gsLst>
                <a:gs pos="42000">
                  <a:srgbClr val="000000">
                    <a:alpha val="0"/>
                  </a:srgbClr>
                </a:gs>
                <a:gs pos="100000">
                  <a:srgbClr val="000000">
                    <a:alpha val="50000"/>
                  </a:srgbClr>
                </a:gs>
              </a:gsLst>
              <a:lin ang="18000000" scaled="0"/>
              <a:tileRect/>
            </a:gra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BFE5596B-BE98-4493-B295-08EF4A71D0FA}"/>
                </a:ext>
              </a:extLst>
            </p:cNvPr>
            <p:cNvSpPr/>
            <p:nvPr/>
          </p:nvSpPr>
          <p:spPr>
            <a:xfrm>
              <a:off x="9412220" y="2474914"/>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5480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5480"/>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BD5C01B1-28A2-4FC4-829D-71E30457D2CC}"/>
                </a:ext>
              </a:extLst>
            </p:cNvPr>
            <p:cNvSpPr/>
            <p:nvPr/>
          </p:nvSpPr>
          <p:spPr>
            <a:xfrm>
              <a:off x="10751174" y="3248532"/>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1A9DEAB-7012-4DCF-9A05-A03D69A8722B}"/>
                </a:ext>
              </a:extLst>
            </p:cNvPr>
            <p:cNvSpPr/>
            <p:nvPr/>
          </p:nvSpPr>
          <p:spPr>
            <a:xfrm>
              <a:off x="9414509" y="2922376"/>
              <a:ext cx="1350398" cy="1018520"/>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59DBCFC-B04C-48A0-B539-4E83C893218F}"/>
                </a:ext>
              </a:extLst>
            </p:cNvPr>
            <p:cNvSpPr/>
            <p:nvPr/>
          </p:nvSpPr>
          <p:spPr>
            <a:xfrm>
              <a:off x="9412220" y="2216279"/>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29098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29098"/>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CB5631BB-B96D-444B-97F9-9B3DEAB515B1}"/>
                </a:ext>
              </a:extLst>
            </p:cNvPr>
            <p:cNvSpPr/>
            <p:nvPr/>
          </p:nvSpPr>
          <p:spPr>
            <a:xfrm>
              <a:off x="10751174" y="2989896"/>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97FC13FB-5ADA-42C1-86E1-226F5DD70D97}"/>
                </a:ext>
              </a:extLst>
            </p:cNvPr>
            <p:cNvSpPr/>
            <p:nvPr/>
          </p:nvSpPr>
          <p:spPr>
            <a:xfrm>
              <a:off x="9414509" y="2663741"/>
              <a:ext cx="1350398" cy="1018520"/>
            </a:xfrm>
            <a:custGeom>
              <a:avLst/>
              <a:gdLst>
                <a:gd name="connsiteX0" fmla="*/ 10307 w 1350397"/>
                <a:gd name="connsiteY0" fmla="*/ 10307 h 1018520"/>
                <a:gd name="connsiteX1" fmla="*/ 1348116 w 1350397"/>
                <a:gd name="connsiteY1" fmla="*/ 781636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6"/>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42A8CAA-6231-4D8F-B14B-F7BFAEC949E3}"/>
                </a:ext>
              </a:extLst>
            </p:cNvPr>
            <p:cNvSpPr/>
            <p:nvPr/>
          </p:nvSpPr>
          <p:spPr>
            <a:xfrm>
              <a:off x="9412220" y="1957643"/>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3EE53F0-3936-4BEC-9AC3-6D7D19B3E8D1}"/>
                </a:ext>
              </a:extLst>
            </p:cNvPr>
            <p:cNvSpPr/>
            <p:nvPr/>
          </p:nvSpPr>
          <p:spPr>
            <a:xfrm>
              <a:off x="10751174" y="2731261"/>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4C3D8D4E-0AA0-422D-90EB-B0C2CED8900B}"/>
                </a:ext>
              </a:extLst>
            </p:cNvPr>
            <p:cNvSpPr/>
            <p:nvPr/>
          </p:nvSpPr>
          <p:spPr>
            <a:xfrm>
              <a:off x="9414509" y="2405105"/>
              <a:ext cx="1350398" cy="1018520"/>
            </a:xfrm>
            <a:custGeom>
              <a:avLst/>
              <a:gdLst>
                <a:gd name="connsiteX0" fmla="*/ 10307 w 1350397"/>
                <a:gd name="connsiteY0" fmla="*/ 10307 h 1018520"/>
                <a:gd name="connsiteX1" fmla="*/ 1348116 w 1350397"/>
                <a:gd name="connsiteY1" fmla="*/ 781635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1635"/>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B1A74DC-BF7D-47A4-BE8C-B4757B3F4BDD}"/>
                </a:ext>
              </a:extLst>
            </p:cNvPr>
            <p:cNvSpPr/>
            <p:nvPr/>
          </p:nvSpPr>
          <p:spPr>
            <a:xfrm>
              <a:off x="9412220" y="1699008"/>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2FBE39E7-AB9A-4115-AE71-7017C18CE278}"/>
                </a:ext>
              </a:extLst>
            </p:cNvPr>
            <p:cNvSpPr/>
            <p:nvPr/>
          </p:nvSpPr>
          <p:spPr>
            <a:xfrm>
              <a:off x="10751174" y="2472625"/>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2372"/>
                  </a:lnTo>
                  <a:lnTo>
                    <a:pt x="10307" y="455480"/>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918C6246-C2E7-4C39-A8C2-261FDD927825}"/>
                </a:ext>
              </a:extLst>
            </p:cNvPr>
            <p:cNvSpPr/>
            <p:nvPr/>
          </p:nvSpPr>
          <p:spPr>
            <a:xfrm>
              <a:off x="9414509" y="2146470"/>
              <a:ext cx="1350398" cy="1018520"/>
            </a:xfrm>
            <a:custGeom>
              <a:avLst/>
              <a:gdLst>
                <a:gd name="connsiteX0" fmla="*/ 10307 w 1350397"/>
                <a:gd name="connsiteY0" fmla="*/ 10307 h 1018520"/>
                <a:gd name="connsiteX1" fmla="*/ 1348116 w 1350397"/>
                <a:gd name="connsiteY1" fmla="*/ 782780 h 1018520"/>
                <a:gd name="connsiteX2" fmla="*/ 1348116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7383"/>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6CD9BC6B-8E1F-4380-8AFE-A1B9E36203FE}"/>
                </a:ext>
              </a:extLst>
            </p:cNvPr>
            <p:cNvSpPr/>
            <p:nvPr/>
          </p:nvSpPr>
          <p:spPr>
            <a:xfrm>
              <a:off x="8091577" y="3248532"/>
              <a:ext cx="778195" cy="698087"/>
            </a:xfrm>
            <a:custGeom>
              <a:avLst/>
              <a:gdLst>
                <a:gd name="connsiteX0" fmla="*/ 10307 w 778195"/>
                <a:gd name="connsiteY0" fmla="*/ 455480 h 698086"/>
                <a:gd name="connsiteX1" fmla="*/ 775913 w 778195"/>
                <a:gd name="connsiteY1" fmla="*/ 10307 h 698086"/>
                <a:gd name="connsiteX2" fmla="*/ 775913 w 778195"/>
                <a:gd name="connsiteY2" fmla="*/ 246054 h 698086"/>
                <a:gd name="connsiteX3" fmla="*/ 10307 w 778195"/>
                <a:gd name="connsiteY3" fmla="*/ 691228 h 698086"/>
                <a:gd name="connsiteX4" fmla="*/ 10307 w 778195"/>
                <a:gd name="connsiteY4" fmla="*/ 455480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5480"/>
                  </a:moveTo>
                  <a:lnTo>
                    <a:pt x="775913" y="10307"/>
                  </a:lnTo>
                  <a:lnTo>
                    <a:pt x="775913" y="246054"/>
                  </a:lnTo>
                  <a:lnTo>
                    <a:pt x="10307" y="691228"/>
                  </a:lnTo>
                  <a:lnTo>
                    <a:pt x="10307" y="455480"/>
                  </a:lnTo>
                </a:path>
              </a:pathLst>
            </a:custGeom>
            <a:solidFill>
              <a:srgbClr val="28B1E8"/>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778F4735-20F3-4F1A-871F-A70E37CE142D}"/>
                </a:ext>
              </a:extLst>
            </p:cNvPr>
            <p:cNvSpPr/>
            <p:nvPr/>
          </p:nvSpPr>
          <p:spPr>
            <a:xfrm>
              <a:off x="6754912" y="2922376"/>
              <a:ext cx="1350398" cy="1018520"/>
            </a:xfrm>
            <a:custGeom>
              <a:avLst/>
              <a:gdLst>
                <a:gd name="connsiteX0" fmla="*/ 10307 w 1350397"/>
                <a:gd name="connsiteY0" fmla="*/ 10307 h 1018520"/>
                <a:gd name="connsiteX1" fmla="*/ 1346972 w 1350397"/>
                <a:gd name="connsiteY1" fmla="*/ 781635 h 1018520"/>
                <a:gd name="connsiteX2" fmla="*/ 1346972 w 1350397"/>
                <a:gd name="connsiteY2" fmla="*/ 1017383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6972" y="781635"/>
                  </a:lnTo>
                  <a:lnTo>
                    <a:pt x="1346972" y="1017383"/>
                  </a:lnTo>
                  <a:lnTo>
                    <a:pt x="10307" y="246054"/>
                  </a:lnTo>
                  <a:lnTo>
                    <a:pt x="10307" y="10307"/>
                  </a:lnTo>
                </a:path>
              </a:pathLst>
            </a:custGeom>
            <a:solidFill>
              <a:srgbClr val="0079D4"/>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894829C-C23C-4811-B507-97DE768D97B0}"/>
                </a:ext>
              </a:extLst>
            </p:cNvPr>
            <p:cNvSpPr/>
            <p:nvPr/>
          </p:nvSpPr>
          <p:spPr>
            <a:xfrm>
              <a:off x="6752624" y="2474914"/>
              <a:ext cx="2117149" cy="1235957"/>
            </a:xfrm>
            <a:custGeom>
              <a:avLst/>
              <a:gdLst>
                <a:gd name="connsiteX0" fmla="*/ 774769 w 2117148"/>
                <a:gd name="connsiteY0" fmla="*/ 10307 h 1235957"/>
                <a:gd name="connsiteX1" fmla="*/ 2114867 w 2117148"/>
                <a:gd name="connsiteY1" fmla="*/ 783924 h 1235957"/>
                <a:gd name="connsiteX2" fmla="*/ 1349260 w 2117148"/>
                <a:gd name="connsiteY2" fmla="*/ 1229098 h 1235957"/>
                <a:gd name="connsiteX3" fmla="*/ 10307 w 2117148"/>
                <a:gd name="connsiteY3" fmla="*/ 455480 h 1235957"/>
                <a:gd name="connsiteX4" fmla="*/ 774769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4769" y="10307"/>
                  </a:moveTo>
                  <a:lnTo>
                    <a:pt x="2114867" y="783924"/>
                  </a:lnTo>
                  <a:lnTo>
                    <a:pt x="1349260" y="1229098"/>
                  </a:lnTo>
                  <a:lnTo>
                    <a:pt x="10307" y="455480"/>
                  </a:lnTo>
                  <a:lnTo>
                    <a:pt x="774769" y="10307"/>
                  </a:lnTo>
                </a:path>
              </a:pathLst>
            </a:custGeom>
            <a:solidFill>
              <a:srgbClr val="50E6FF"/>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3DEF37-3320-4267-9F95-C4743520ACD2}"/>
                </a:ext>
              </a:extLst>
            </p:cNvPr>
            <p:cNvSpPr/>
            <p:nvPr/>
          </p:nvSpPr>
          <p:spPr>
            <a:xfrm>
              <a:off x="7067335" y="2663741"/>
              <a:ext cx="1476282" cy="858304"/>
            </a:xfrm>
            <a:custGeom>
              <a:avLst/>
              <a:gdLst>
                <a:gd name="connsiteX0" fmla="*/ 743870 w 1476282"/>
                <a:gd name="connsiteY0" fmla="*/ 580220 h 858303"/>
                <a:gd name="connsiteX1" fmla="*/ 994495 w 1476282"/>
                <a:gd name="connsiteY1" fmla="*/ 432592 h 858303"/>
                <a:gd name="connsiteX2" fmla="*/ 743870 w 1476282"/>
                <a:gd name="connsiteY2" fmla="*/ 284964 h 858303"/>
                <a:gd name="connsiteX3" fmla="*/ 493246 w 1476282"/>
                <a:gd name="connsiteY3" fmla="*/ 432592 h 858303"/>
                <a:gd name="connsiteX4" fmla="*/ 743870 w 1476282"/>
                <a:gd name="connsiteY4" fmla="*/ 580220 h 858303"/>
                <a:gd name="connsiteX5" fmla="*/ 651173 w 1476282"/>
                <a:gd name="connsiteY5" fmla="*/ 10307 h 858303"/>
                <a:gd name="connsiteX6" fmla="*/ 1467134 w 1476282"/>
                <a:gd name="connsiteY6" fmla="*/ 481802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1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3870" y="580220"/>
                  </a:moveTo>
                  <a:cubicBezTo>
                    <a:pt x="881199" y="580220"/>
                    <a:pt x="994495" y="513845"/>
                    <a:pt x="994495" y="432592"/>
                  </a:cubicBezTo>
                  <a:cubicBezTo>
                    <a:pt x="994495" y="351339"/>
                    <a:pt x="881199" y="284964"/>
                    <a:pt x="743870" y="284964"/>
                  </a:cubicBezTo>
                  <a:cubicBezTo>
                    <a:pt x="606542" y="284964"/>
                    <a:pt x="493246" y="351339"/>
                    <a:pt x="493246" y="432592"/>
                  </a:cubicBezTo>
                  <a:cubicBezTo>
                    <a:pt x="493246" y="513845"/>
                    <a:pt x="606542" y="580220"/>
                    <a:pt x="743870" y="580220"/>
                  </a:cubicBezTo>
                  <a:moveTo>
                    <a:pt x="651173" y="10307"/>
                  </a:moveTo>
                  <a:lnTo>
                    <a:pt x="1467134" y="481802"/>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1" y="319296"/>
                    <a:pt x="97281" y="276953"/>
                  </a:cubicBezTo>
                  <a:cubicBezTo>
                    <a:pt x="97281" y="230032"/>
                    <a:pt x="62949" y="188834"/>
                    <a:pt x="10307" y="160224"/>
                  </a:cubicBezTo>
                  <a:lnTo>
                    <a:pt x="266653" y="10307"/>
                  </a:lnTo>
                  <a:cubicBezTo>
                    <a:pt x="312430" y="43495"/>
                    <a:pt x="382238" y="64094"/>
                    <a:pt x="460058" y="64094"/>
                  </a:cubicBezTo>
                  <a:cubicBezTo>
                    <a:pt x="536733" y="64094"/>
                    <a:pt x="605397" y="43495"/>
                    <a:pt x="651173" y="10307"/>
                  </a:cubicBezTo>
                </a:path>
              </a:pathLst>
            </a:custGeom>
            <a:solidFill>
              <a:srgbClr val="0079D4"/>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B15030B0-15E2-49B1-8AE1-666096C92393}"/>
                </a:ext>
              </a:extLst>
            </p:cNvPr>
            <p:cNvSpPr/>
            <p:nvPr/>
          </p:nvSpPr>
          <p:spPr>
            <a:xfrm>
              <a:off x="9412220" y="1440372"/>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solidFill>
              <a:srgbClr val="FFD775"/>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CF234349-F67B-46DB-99A6-01C833CCCD33}"/>
                </a:ext>
              </a:extLst>
            </p:cNvPr>
            <p:cNvSpPr/>
            <p:nvPr/>
          </p:nvSpPr>
          <p:spPr>
            <a:xfrm>
              <a:off x="9720065" y="1618899"/>
              <a:ext cx="1476282" cy="858304"/>
            </a:xfrm>
            <a:custGeom>
              <a:avLst/>
              <a:gdLst>
                <a:gd name="connsiteX0" fmla="*/ 742726 w 1476282"/>
                <a:gd name="connsiteY0" fmla="*/ 580220 h 858303"/>
                <a:gd name="connsiteX1" fmla="*/ 993350 w 1476282"/>
                <a:gd name="connsiteY1" fmla="*/ 432592 h 858303"/>
                <a:gd name="connsiteX2" fmla="*/ 742726 w 1476282"/>
                <a:gd name="connsiteY2" fmla="*/ 284964 h 858303"/>
                <a:gd name="connsiteX3" fmla="*/ 492101 w 1476282"/>
                <a:gd name="connsiteY3" fmla="*/ 432592 h 858303"/>
                <a:gd name="connsiteX4" fmla="*/ 742726 w 1476282"/>
                <a:gd name="connsiteY4" fmla="*/ 580220 h 858303"/>
                <a:gd name="connsiteX5" fmla="*/ 651173 w 1476282"/>
                <a:gd name="connsiteY5" fmla="*/ 10307 h 858303"/>
                <a:gd name="connsiteX6" fmla="*/ 1467134 w 1476282"/>
                <a:gd name="connsiteY6" fmla="*/ 481801 h 858303"/>
                <a:gd name="connsiteX7" fmla="*/ 1388170 w 1476282"/>
                <a:gd name="connsiteY7" fmla="*/ 595098 h 858303"/>
                <a:gd name="connsiteX8" fmla="*/ 1468278 w 1476282"/>
                <a:gd name="connsiteY8" fmla="*/ 708394 h 858303"/>
                <a:gd name="connsiteX9" fmla="*/ 1215365 w 1476282"/>
                <a:gd name="connsiteY9" fmla="*/ 856022 h 858303"/>
                <a:gd name="connsiteX10" fmla="*/ 1023105 w 1476282"/>
                <a:gd name="connsiteY10" fmla="*/ 803379 h 858303"/>
                <a:gd name="connsiteX11" fmla="*/ 833134 w 1476282"/>
                <a:gd name="connsiteY11" fmla="*/ 854877 h 858303"/>
                <a:gd name="connsiteX12" fmla="*/ 22895 w 1476282"/>
                <a:gd name="connsiteY12" fmla="*/ 386816 h 858303"/>
                <a:gd name="connsiteX13" fmla="*/ 97282 w 1476282"/>
                <a:gd name="connsiteY13" fmla="*/ 276953 h 858303"/>
                <a:gd name="connsiteX14" fmla="*/ 10307 w 1476282"/>
                <a:gd name="connsiteY14" fmla="*/ 160224 h 858303"/>
                <a:gd name="connsiteX15" fmla="*/ 266653 w 1476282"/>
                <a:gd name="connsiteY15" fmla="*/ 10307 h 858303"/>
                <a:gd name="connsiteX16" fmla="*/ 460058 w 1476282"/>
                <a:gd name="connsiteY16" fmla="*/ 64094 h 858303"/>
                <a:gd name="connsiteX17" fmla="*/ 651173 w 1476282"/>
                <a:gd name="connsiteY17" fmla="*/ 10307 h 85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6282" h="858303">
                  <a:moveTo>
                    <a:pt x="742726" y="580220"/>
                  </a:moveTo>
                  <a:cubicBezTo>
                    <a:pt x="880054" y="580220"/>
                    <a:pt x="993350" y="513845"/>
                    <a:pt x="993350" y="432592"/>
                  </a:cubicBezTo>
                  <a:cubicBezTo>
                    <a:pt x="993350" y="351339"/>
                    <a:pt x="880054" y="284964"/>
                    <a:pt x="742726" y="284964"/>
                  </a:cubicBezTo>
                  <a:cubicBezTo>
                    <a:pt x="605397" y="284964"/>
                    <a:pt x="492101" y="351339"/>
                    <a:pt x="492101" y="432592"/>
                  </a:cubicBezTo>
                  <a:cubicBezTo>
                    <a:pt x="493245" y="513845"/>
                    <a:pt x="605397" y="580220"/>
                    <a:pt x="742726" y="580220"/>
                  </a:cubicBezTo>
                  <a:moveTo>
                    <a:pt x="651173" y="10307"/>
                  </a:moveTo>
                  <a:lnTo>
                    <a:pt x="1467134" y="481801"/>
                  </a:lnTo>
                  <a:cubicBezTo>
                    <a:pt x="1417925" y="510412"/>
                    <a:pt x="1388170" y="550466"/>
                    <a:pt x="1388170" y="595098"/>
                  </a:cubicBezTo>
                  <a:cubicBezTo>
                    <a:pt x="1388170" y="639729"/>
                    <a:pt x="1419069" y="679783"/>
                    <a:pt x="1468278" y="708394"/>
                  </a:cubicBezTo>
                  <a:lnTo>
                    <a:pt x="1215365" y="856022"/>
                  </a:lnTo>
                  <a:cubicBezTo>
                    <a:pt x="1169589" y="823978"/>
                    <a:pt x="1099780" y="803379"/>
                    <a:pt x="1023105" y="803379"/>
                  </a:cubicBezTo>
                  <a:cubicBezTo>
                    <a:pt x="947574" y="803379"/>
                    <a:pt x="878910" y="823978"/>
                    <a:pt x="833134" y="854877"/>
                  </a:cubicBezTo>
                  <a:lnTo>
                    <a:pt x="22895" y="386816"/>
                  </a:lnTo>
                  <a:cubicBezTo>
                    <a:pt x="68671" y="358206"/>
                    <a:pt x="97282" y="319296"/>
                    <a:pt x="97282" y="276953"/>
                  </a:cubicBezTo>
                  <a:cubicBezTo>
                    <a:pt x="97282" y="230032"/>
                    <a:pt x="62949" y="188834"/>
                    <a:pt x="10307" y="160224"/>
                  </a:cubicBezTo>
                  <a:lnTo>
                    <a:pt x="266653" y="10307"/>
                  </a:lnTo>
                  <a:cubicBezTo>
                    <a:pt x="312430" y="43494"/>
                    <a:pt x="382238" y="64094"/>
                    <a:pt x="460058" y="64094"/>
                  </a:cubicBezTo>
                  <a:cubicBezTo>
                    <a:pt x="535588" y="64094"/>
                    <a:pt x="605397" y="43494"/>
                    <a:pt x="651173" y="10307"/>
                  </a:cubicBezTo>
                </a:path>
              </a:pathLst>
            </a:custGeom>
            <a:solidFill>
              <a:srgbClr val="FF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2D71BB6D-BA56-42D9-90EF-B425CDA3D37D}"/>
                </a:ext>
              </a:extLst>
            </p:cNvPr>
            <p:cNvSpPr/>
            <p:nvPr/>
          </p:nvSpPr>
          <p:spPr>
            <a:xfrm>
              <a:off x="10751174" y="2213990"/>
              <a:ext cx="778195" cy="698087"/>
            </a:xfrm>
            <a:custGeom>
              <a:avLst/>
              <a:gdLst>
                <a:gd name="connsiteX0" fmla="*/ 10307 w 778195"/>
                <a:gd name="connsiteY0" fmla="*/ 456625 h 698086"/>
                <a:gd name="connsiteX1" fmla="*/ 775913 w 778195"/>
                <a:gd name="connsiteY1" fmla="*/ 10307 h 698086"/>
                <a:gd name="connsiteX2" fmla="*/ 775913 w 778195"/>
                <a:gd name="connsiteY2" fmla="*/ 246054 h 698086"/>
                <a:gd name="connsiteX3" fmla="*/ 10307 w 778195"/>
                <a:gd name="connsiteY3" fmla="*/ 692372 h 698086"/>
                <a:gd name="connsiteX4" fmla="*/ 10307 w 778195"/>
                <a:gd name="connsiteY4" fmla="*/ 456625 h 69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195" h="698086">
                  <a:moveTo>
                    <a:pt x="10307" y="456625"/>
                  </a:moveTo>
                  <a:lnTo>
                    <a:pt x="775913" y="10307"/>
                  </a:lnTo>
                  <a:lnTo>
                    <a:pt x="775913" y="246054"/>
                  </a:lnTo>
                  <a:lnTo>
                    <a:pt x="10307" y="692372"/>
                  </a:lnTo>
                  <a:lnTo>
                    <a:pt x="10307" y="456625"/>
                  </a:lnTo>
                </a:path>
              </a:pathLst>
            </a:custGeom>
            <a:solidFill>
              <a:srgbClr val="FE9900"/>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5D6BE61-1699-43F3-B0B8-03B1792C469C}"/>
                </a:ext>
              </a:extLst>
            </p:cNvPr>
            <p:cNvSpPr/>
            <p:nvPr/>
          </p:nvSpPr>
          <p:spPr>
            <a:xfrm>
              <a:off x="9414509" y="1887834"/>
              <a:ext cx="1350398" cy="1018520"/>
            </a:xfrm>
            <a:custGeom>
              <a:avLst/>
              <a:gdLst>
                <a:gd name="connsiteX0" fmla="*/ 10307 w 1350397"/>
                <a:gd name="connsiteY0" fmla="*/ 10307 h 1018520"/>
                <a:gd name="connsiteX1" fmla="*/ 1348116 w 1350397"/>
                <a:gd name="connsiteY1" fmla="*/ 782780 h 1018520"/>
                <a:gd name="connsiteX2" fmla="*/ 1348116 w 1350397"/>
                <a:gd name="connsiteY2" fmla="*/ 1018527 h 1018520"/>
                <a:gd name="connsiteX3" fmla="*/ 10307 w 1350397"/>
                <a:gd name="connsiteY3" fmla="*/ 246054 h 1018520"/>
                <a:gd name="connsiteX4" fmla="*/ 10307 w 1350397"/>
                <a:gd name="connsiteY4" fmla="*/ 10307 h 101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97" h="1018520">
                  <a:moveTo>
                    <a:pt x="10307" y="10307"/>
                  </a:moveTo>
                  <a:lnTo>
                    <a:pt x="1348116" y="782780"/>
                  </a:lnTo>
                  <a:lnTo>
                    <a:pt x="1348116" y="1018527"/>
                  </a:lnTo>
                  <a:lnTo>
                    <a:pt x="10307" y="246054"/>
                  </a:lnTo>
                  <a:lnTo>
                    <a:pt x="10307" y="10307"/>
                  </a:lnTo>
                </a:path>
              </a:pathLst>
            </a:custGeom>
            <a:solidFill>
              <a:srgbClr val="DF7801"/>
            </a:solidFill>
            <a:ln w="1143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2D48ABA-E951-4951-83E0-ABC98D89737E}"/>
                </a:ext>
              </a:extLst>
            </p:cNvPr>
            <p:cNvSpPr/>
            <p:nvPr/>
          </p:nvSpPr>
          <p:spPr>
            <a:xfrm>
              <a:off x="8650047" y="3158124"/>
              <a:ext cx="2117149" cy="1235957"/>
            </a:xfrm>
            <a:custGeom>
              <a:avLst/>
              <a:gdLst>
                <a:gd name="connsiteX0" fmla="*/ 775913 w 2117148"/>
                <a:gd name="connsiteY0" fmla="*/ 10307 h 1235957"/>
                <a:gd name="connsiteX1" fmla="*/ 2114867 w 2117148"/>
                <a:gd name="connsiteY1" fmla="*/ 783924 h 1235957"/>
                <a:gd name="connsiteX2" fmla="*/ 1350405 w 2117148"/>
                <a:gd name="connsiteY2" fmla="*/ 1230242 h 1235957"/>
                <a:gd name="connsiteX3" fmla="*/ 10307 w 2117148"/>
                <a:gd name="connsiteY3" fmla="*/ 456625 h 1235957"/>
                <a:gd name="connsiteX4" fmla="*/ 775913 w 2117148"/>
                <a:gd name="connsiteY4" fmla="*/ 10307 h 123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148" h="1235957">
                  <a:moveTo>
                    <a:pt x="775913" y="10307"/>
                  </a:moveTo>
                  <a:lnTo>
                    <a:pt x="2114867" y="783924"/>
                  </a:lnTo>
                  <a:lnTo>
                    <a:pt x="1350405" y="1230242"/>
                  </a:lnTo>
                  <a:lnTo>
                    <a:pt x="10307" y="456625"/>
                  </a:lnTo>
                  <a:lnTo>
                    <a:pt x="775913" y="10307"/>
                  </a:lnTo>
                </a:path>
              </a:pathLst>
            </a:custGeom>
            <a:gradFill flip="none" rotWithShape="1">
              <a:gsLst>
                <a:gs pos="42000">
                  <a:srgbClr val="000000">
                    <a:alpha val="0"/>
                  </a:srgbClr>
                </a:gs>
                <a:gs pos="100000">
                  <a:srgbClr val="000000">
                    <a:alpha val="50000"/>
                  </a:srgbClr>
                </a:gs>
              </a:gsLst>
              <a:lin ang="18000000" scaled="0"/>
              <a:tileRect/>
            </a:gradFill>
            <a:ln w="1143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88" name="Graphic 87">
            <a:extLst>
              <a:ext uri="{FF2B5EF4-FFF2-40B4-BE49-F238E27FC236}">
                <a16:creationId xmlns:a16="http://schemas.microsoft.com/office/drawing/2014/main" id="{76CCFB4A-E498-4CDB-8E90-636D034099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04198" y="6227261"/>
            <a:ext cx="762000" cy="457200"/>
          </a:xfrm>
          <a:prstGeom prst="rect">
            <a:avLst/>
          </a:prstGeom>
        </p:spPr>
      </p:pic>
      <p:pic>
        <p:nvPicPr>
          <p:cNvPr id="89" name="Graphic 88">
            <a:extLst>
              <a:ext uri="{FF2B5EF4-FFF2-40B4-BE49-F238E27FC236}">
                <a16:creationId xmlns:a16="http://schemas.microsoft.com/office/drawing/2014/main" id="{7AD175C7-72B4-4E19-83AB-079B0D514F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034" y="6252876"/>
            <a:ext cx="1645920" cy="465829"/>
          </a:xfrm>
          <a:prstGeom prst="rect">
            <a:avLst/>
          </a:prstGeom>
        </p:spPr>
      </p:pic>
      <p:pic>
        <p:nvPicPr>
          <p:cNvPr id="30" name="Picture 29">
            <a:extLst>
              <a:ext uri="{FF2B5EF4-FFF2-40B4-BE49-F238E27FC236}">
                <a16:creationId xmlns:a16="http://schemas.microsoft.com/office/drawing/2014/main" id="{16671135-06FA-4749-A365-DB1621E2B854}"/>
              </a:ext>
            </a:extLst>
          </p:cNvPr>
          <p:cNvPicPr>
            <a:picLocks noChangeAspect="1"/>
          </p:cNvPicPr>
          <p:nvPr/>
        </p:nvPicPr>
        <p:blipFill>
          <a:blip r:embed="rId7"/>
          <a:stretch>
            <a:fillRect/>
          </a:stretch>
        </p:blipFill>
        <p:spPr>
          <a:xfrm>
            <a:off x="6760749" y="762433"/>
            <a:ext cx="4870476" cy="1644459"/>
          </a:xfrm>
          <a:prstGeom prst="rect">
            <a:avLst/>
          </a:prstGeom>
        </p:spPr>
      </p:pic>
      <p:sp>
        <p:nvSpPr>
          <p:cNvPr id="31" name="TextBox 30">
            <a:extLst>
              <a:ext uri="{FF2B5EF4-FFF2-40B4-BE49-F238E27FC236}">
                <a16:creationId xmlns:a16="http://schemas.microsoft.com/office/drawing/2014/main" id="{26696294-F0F1-4261-9DCE-3AC3EE703189}"/>
              </a:ext>
            </a:extLst>
          </p:cNvPr>
          <p:cNvSpPr txBox="1"/>
          <p:nvPr/>
        </p:nvSpPr>
        <p:spPr>
          <a:xfrm>
            <a:off x="7117519" y="2667474"/>
            <a:ext cx="4712419" cy="369332"/>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858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9144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576"/>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Other cloud service providers may claim to have similar savings to the Azure Hybrid Benefit, but you’ll need to repurchase your Windows Server license on those clouds. And only Azure offers free extended security updates for Windows Server 2008 and 2008 R2.</a:t>
            </a:r>
          </a:p>
        </p:txBody>
      </p:sp>
      <p:sp>
        <p:nvSpPr>
          <p:cNvPr id="32" name="TextBox 31">
            <a:extLst>
              <a:ext uri="{FF2B5EF4-FFF2-40B4-BE49-F238E27FC236}">
                <a16:creationId xmlns:a16="http://schemas.microsoft.com/office/drawing/2014/main" id="{D47601C3-626F-46EC-9A65-76AE171C713E}"/>
              </a:ext>
            </a:extLst>
          </p:cNvPr>
          <p:cNvSpPr txBox="1"/>
          <p:nvPr/>
        </p:nvSpPr>
        <p:spPr>
          <a:xfrm>
            <a:off x="7267309" y="5543209"/>
            <a:ext cx="4623885" cy="492443"/>
          </a:xfrm>
          <a:prstGeom prst="rect">
            <a:avLst/>
          </a:prstGeom>
        </p:spPr>
        <p:txBody>
          <a:bodyPr vert="horz" wrap="squar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280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858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914400"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576"/>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Only Azure offers savings across both platform-as-a-service (PaaS) and infrastructure-as-a-service (IaaS) for SQL Server. With the </a:t>
            </a:r>
            <a:r>
              <a:rPr kumimoji="0" lang="en-US" sz="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hlinkClick r:id="rId8">
                  <a:extLst>
                    <a:ext uri="{A12FA001-AC4F-418D-AE19-62706E023703}">
                      <ahyp:hlinkClr xmlns:ahyp="http://schemas.microsoft.com/office/drawing/2018/hyperlinkcolor" val="tx"/>
                    </a:ext>
                  </a:extLst>
                </a:hlinkClick>
              </a:rPr>
              <a:t>Azure Hybrid Benefit</a:t>
            </a: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 you can use existing licenses with Software Assurance to pay a reduced rate on </a:t>
            </a:r>
            <a:r>
              <a:rPr kumimoji="0" lang="en-US" sz="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hlinkClick r:id="rId9">
                  <a:extLst>
                    <a:ext uri="{A12FA001-AC4F-418D-AE19-62706E023703}">
                      <ahyp:hlinkClr xmlns:ahyp="http://schemas.microsoft.com/office/drawing/2018/hyperlinkcolor" val="tx"/>
                    </a:ext>
                  </a:extLst>
                </a:hlinkClick>
              </a:rPr>
              <a:t>Azure SQL Database</a:t>
            </a:r>
            <a:r>
              <a:rPr kumimoji="0" lang="en-US" sz="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rPr>
              <a:t> </a:t>
            </a:r>
            <a:r>
              <a:rPr kumimoji="0" lang="en-US" sz="800" b="0" i="0" u="none" strike="noStrike" kern="1200" cap="none" spc="0" normalizeH="0" baseline="0" noProof="0">
                <a:ln>
                  <a:noFill/>
                </a:ln>
                <a:gradFill>
                  <a:gsLst>
                    <a:gs pos="1250">
                      <a:srgbClr val="1A1A1A">
                        <a:lumMod val="90000"/>
                        <a:lumOff val="10000"/>
                      </a:srgbClr>
                    </a:gs>
                    <a:gs pos="100000">
                      <a:srgbClr val="1A1A1A">
                        <a:lumMod val="90000"/>
                        <a:lumOff val="10000"/>
                      </a:srgbClr>
                    </a:gs>
                  </a:gsLst>
                  <a:lin ang="5400000" scaled="0"/>
                </a:gradFill>
                <a:effectLst/>
                <a:uLnTx/>
                <a:uFillTx/>
                <a:latin typeface="Segoe UI"/>
                <a:ea typeface="+mn-ea"/>
                <a:cs typeface="Segoe UI Semilight" panose="020B0402040204020203" pitchFamily="34" charset="0"/>
              </a:rPr>
              <a:t>(PaaS). This is not included in SQL Server license mobility rights for other clouds.</a:t>
            </a:r>
          </a:p>
        </p:txBody>
      </p:sp>
      <p:pic>
        <p:nvPicPr>
          <p:cNvPr id="33" name="Picture 32" descr="A screen shot of a computer&#10;&#10;Description generated with high confidence">
            <a:extLst>
              <a:ext uri="{FF2B5EF4-FFF2-40B4-BE49-F238E27FC236}">
                <a16:creationId xmlns:a16="http://schemas.microsoft.com/office/drawing/2014/main" id="{9EEB0F3D-461B-466A-B687-3892AB8A147C}"/>
              </a:ext>
            </a:extLst>
          </p:cNvPr>
          <p:cNvPicPr>
            <a:picLocks noChangeAspect="1"/>
          </p:cNvPicPr>
          <p:nvPr/>
        </p:nvPicPr>
        <p:blipFill>
          <a:blip r:embed="rId10"/>
          <a:stretch>
            <a:fillRect/>
          </a:stretch>
        </p:blipFill>
        <p:spPr>
          <a:xfrm>
            <a:off x="6849540" y="3798600"/>
            <a:ext cx="4623885" cy="1561201"/>
          </a:xfrm>
          <a:prstGeom prst="rect">
            <a:avLst/>
          </a:prstGeom>
        </p:spPr>
      </p:pic>
      <p:sp>
        <p:nvSpPr>
          <p:cNvPr id="2" name="Rectangle 1">
            <a:extLst>
              <a:ext uri="{FF2B5EF4-FFF2-40B4-BE49-F238E27FC236}">
                <a16:creationId xmlns:a16="http://schemas.microsoft.com/office/drawing/2014/main" id="{BECF1612-F13C-4A03-AB8A-97DEA88B2E53}"/>
              </a:ext>
            </a:extLst>
          </p:cNvPr>
          <p:cNvSpPr/>
          <p:nvPr/>
        </p:nvSpPr>
        <p:spPr bwMode="auto">
          <a:xfrm>
            <a:off x="7094250" y="259061"/>
            <a:ext cx="420347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indows Server savings illustration </a:t>
            </a:r>
          </a:p>
        </p:txBody>
      </p:sp>
      <p:sp>
        <p:nvSpPr>
          <p:cNvPr id="35" name="Rectangle 34">
            <a:extLst>
              <a:ext uri="{FF2B5EF4-FFF2-40B4-BE49-F238E27FC236}">
                <a16:creationId xmlns:a16="http://schemas.microsoft.com/office/drawing/2014/main" id="{40A33DAF-CCA6-42BF-8A85-2CA5CAC1C56A}"/>
              </a:ext>
            </a:extLst>
          </p:cNvPr>
          <p:cNvSpPr/>
          <p:nvPr/>
        </p:nvSpPr>
        <p:spPr bwMode="auto">
          <a:xfrm>
            <a:off x="7645107" y="3267638"/>
            <a:ext cx="334658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QL Server savings illustration (PaaS) </a:t>
            </a:r>
          </a:p>
        </p:txBody>
      </p:sp>
      <p:sp>
        <p:nvSpPr>
          <p:cNvPr id="36" name="Rectangle 35">
            <a:extLst>
              <a:ext uri="{FF2B5EF4-FFF2-40B4-BE49-F238E27FC236}">
                <a16:creationId xmlns:a16="http://schemas.microsoft.com/office/drawing/2014/main" id="{20C449A8-3AD3-465D-AA7B-AC3A3902A6B6}"/>
              </a:ext>
            </a:extLst>
          </p:cNvPr>
          <p:cNvSpPr/>
          <p:nvPr/>
        </p:nvSpPr>
        <p:spPr bwMode="auto">
          <a:xfrm>
            <a:off x="7701381" y="6214717"/>
            <a:ext cx="3346585" cy="335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Learn more: </a:t>
            </a:r>
            <a:r>
              <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hlinkClick r:id="rId11"/>
              </a:rPr>
              <a:t>aka.ms/why5xmore</a:t>
            </a: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156075-0A27-48B0-8138-FFBCA64FD168}"/>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25235758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0D02B-BA94-4EB9-A602-0402097C7E12}"/>
              </a:ext>
            </a:extLst>
          </p:cNvPr>
          <p:cNvSpPr>
            <a:spLocks noGrp="1"/>
          </p:cNvSpPr>
          <p:nvPr>
            <p:ph type="title"/>
          </p:nvPr>
        </p:nvSpPr>
        <p:spPr>
          <a:xfrm>
            <a:off x="584200" y="457200"/>
            <a:ext cx="11275558" cy="984885"/>
          </a:xfrm>
        </p:spPr>
        <p:txBody>
          <a:bodyPr/>
          <a:lstStyle/>
          <a:p>
            <a:r>
              <a:rPr lang="en-US"/>
              <a:t>Azure is the best destination for Windows Server and </a:t>
            </a:r>
            <a:br>
              <a:rPr lang="en-US"/>
            </a:br>
            <a:r>
              <a:rPr lang="en-US"/>
              <a:t>SQL Server  </a:t>
            </a:r>
          </a:p>
        </p:txBody>
      </p:sp>
      <p:sp>
        <p:nvSpPr>
          <p:cNvPr id="19" name="Rectangle 18">
            <a:extLst>
              <a:ext uri="{FF2B5EF4-FFF2-40B4-BE49-F238E27FC236}">
                <a16:creationId xmlns:a16="http://schemas.microsoft.com/office/drawing/2014/main" id="{24DBF4AE-837E-4DB8-B0C5-BD1E2DA6F06E}"/>
              </a:ext>
            </a:extLst>
          </p:cNvPr>
          <p:cNvSpPr/>
          <p:nvPr/>
        </p:nvSpPr>
        <p:spPr>
          <a:xfrm>
            <a:off x="377231" y="3190670"/>
            <a:ext cx="3117953" cy="498598"/>
          </a:xfrm>
          <a:prstGeom prst="rect">
            <a:avLst/>
          </a:prstGeom>
          <a:noFill/>
          <a:ln w="9525" cap="flat" cmpd="sng" algn="ctr">
            <a:noFill/>
            <a:prstDash val="solid"/>
          </a:ln>
          <a:effectLst/>
        </p:spPr>
        <p:txBody>
          <a:bodyPr wrap="squar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Unique hybrid experiences: Server + Azure</a:t>
            </a:r>
          </a:p>
        </p:txBody>
      </p:sp>
      <p:cxnSp>
        <p:nvCxnSpPr>
          <p:cNvPr id="20" name="Straight Connector 19">
            <a:extLst>
              <a:ext uri="{FF2B5EF4-FFF2-40B4-BE49-F238E27FC236}">
                <a16:creationId xmlns:a16="http://schemas.microsoft.com/office/drawing/2014/main" id="{AE3C6440-8F9D-46B8-8E69-2CB779E761CE}"/>
              </a:ext>
            </a:extLst>
          </p:cNvPr>
          <p:cNvCxnSpPr/>
          <p:nvPr/>
        </p:nvCxnSpPr>
        <p:spPr>
          <a:xfrm>
            <a:off x="1709965" y="2984152"/>
            <a:ext cx="452486" cy="0"/>
          </a:xfrm>
          <a:prstGeom prst="line">
            <a:avLst/>
          </a:prstGeom>
          <a:noFill/>
          <a:ln w="25400" cap="rnd" cmpd="sng" algn="ctr">
            <a:solidFill>
              <a:schemeClr val="accent1"/>
            </a:solidFill>
            <a:prstDash val="solid"/>
            <a:headEnd type="none" w="lg" len="med"/>
            <a:tailEnd type="none" w="lg" len="med"/>
          </a:ln>
          <a:effectLst/>
        </p:spPr>
      </p:cxnSp>
      <p:sp>
        <p:nvSpPr>
          <p:cNvPr id="22" name="Rectangle 21">
            <a:extLst>
              <a:ext uri="{FF2B5EF4-FFF2-40B4-BE49-F238E27FC236}">
                <a16:creationId xmlns:a16="http://schemas.microsoft.com/office/drawing/2014/main" id="{59CC6D8D-9487-45E7-B54E-A6E67105F2BF}"/>
              </a:ext>
            </a:extLst>
          </p:cNvPr>
          <p:cNvSpPr/>
          <p:nvPr/>
        </p:nvSpPr>
        <p:spPr>
          <a:xfrm>
            <a:off x="4224445" y="3202754"/>
            <a:ext cx="4126024" cy="498598"/>
          </a:xfrm>
          <a:prstGeom prst="rect">
            <a:avLst/>
          </a:prstGeom>
          <a:noFill/>
          <a:ln w="9525" cap="flat" cmpd="sng" algn="ctr">
            <a:noFill/>
            <a:prstDash val="solid"/>
          </a:ln>
          <a:effectLst/>
        </p:spPr>
        <p:txBody>
          <a:bodyPr wrap="squar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Unparalleled consistency &amp; innovation: Azure SQL Database Managed Instance</a:t>
            </a:r>
          </a:p>
        </p:txBody>
      </p:sp>
      <p:cxnSp>
        <p:nvCxnSpPr>
          <p:cNvPr id="23" name="Straight Connector 22">
            <a:extLst>
              <a:ext uri="{FF2B5EF4-FFF2-40B4-BE49-F238E27FC236}">
                <a16:creationId xmlns:a16="http://schemas.microsoft.com/office/drawing/2014/main" id="{4EDC2FDA-C2AF-4E9C-8FA4-E5AAC7964BEE}"/>
              </a:ext>
            </a:extLst>
          </p:cNvPr>
          <p:cNvCxnSpPr/>
          <p:nvPr/>
        </p:nvCxnSpPr>
        <p:spPr>
          <a:xfrm>
            <a:off x="5901772" y="2985069"/>
            <a:ext cx="452486" cy="0"/>
          </a:xfrm>
          <a:prstGeom prst="line">
            <a:avLst/>
          </a:prstGeom>
          <a:noFill/>
          <a:ln w="25400" cap="rnd" cmpd="sng" algn="ctr">
            <a:solidFill>
              <a:schemeClr val="accent1"/>
            </a:solidFill>
            <a:prstDash val="solid"/>
            <a:headEnd type="none" w="lg" len="med"/>
            <a:tailEnd type="none" w="lg" len="med"/>
          </a:ln>
          <a:effectLst/>
        </p:spPr>
      </p:cxnSp>
      <p:sp>
        <p:nvSpPr>
          <p:cNvPr id="25" name="Rectangle 24">
            <a:extLst>
              <a:ext uri="{FF2B5EF4-FFF2-40B4-BE49-F238E27FC236}">
                <a16:creationId xmlns:a16="http://schemas.microsoft.com/office/drawing/2014/main" id="{F8A5E5F2-8E6C-4484-B3CB-562DA25852F1}"/>
              </a:ext>
            </a:extLst>
          </p:cNvPr>
          <p:cNvSpPr/>
          <p:nvPr/>
        </p:nvSpPr>
        <p:spPr>
          <a:xfrm>
            <a:off x="9158661" y="3199546"/>
            <a:ext cx="1683153" cy="498598"/>
          </a:xfrm>
          <a:prstGeom prst="rect">
            <a:avLst/>
          </a:prstGeom>
          <a:noFill/>
          <a:ln w="9525" cap="flat" cmpd="sng" algn="ctr">
            <a:noFill/>
            <a:prstDash val="solid"/>
          </a:ln>
          <a:effectLst/>
        </p:spPr>
        <p:txBody>
          <a:bodyPr wrap="none" lIns="0" tIns="0" rIns="0" bIns="0" rtlCol="0" anchor="t">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Deep trust with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anose="020B0502040204020203" pitchFamily="34" charset="0"/>
              </a:rPr>
              <a:t>enterprises</a:t>
            </a:r>
          </a:p>
        </p:txBody>
      </p:sp>
      <p:cxnSp>
        <p:nvCxnSpPr>
          <p:cNvPr id="26" name="Straight Connector 25">
            <a:extLst>
              <a:ext uri="{FF2B5EF4-FFF2-40B4-BE49-F238E27FC236}">
                <a16:creationId xmlns:a16="http://schemas.microsoft.com/office/drawing/2014/main" id="{EA593511-96BF-4421-9E47-96C9AFCE8EAF}"/>
              </a:ext>
            </a:extLst>
          </p:cNvPr>
          <p:cNvCxnSpPr/>
          <p:nvPr/>
        </p:nvCxnSpPr>
        <p:spPr>
          <a:xfrm>
            <a:off x="9619131" y="2985069"/>
            <a:ext cx="452486" cy="0"/>
          </a:xfrm>
          <a:prstGeom prst="line">
            <a:avLst/>
          </a:prstGeom>
          <a:noFill/>
          <a:ln w="25400" cap="rnd" cmpd="sng" algn="ctr">
            <a:solidFill>
              <a:schemeClr val="accent1"/>
            </a:solidFill>
            <a:prstDash val="solid"/>
            <a:headEnd type="none" w="lg" len="med"/>
            <a:tailEnd type="none" w="lg" len="med"/>
          </a:ln>
          <a:effectLst/>
        </p:spPr>
      </p:cxnSp>
      <p:sp>
        <p:nvSpPr>
          <p:cNvPr id="30" name="TextBox 29">
            <a:extLst>
              <a:ext uri="{FF2B5EF4-FFF2-40B4-BE49-F238E27FC236}">
                <a16:creationId xmlns:a16="http://schemas.microsoft.com/office/drawing/2014/main" id="{B0E36752-0349-47CB-A0F0-981EEB2165D9}"/>
              </a:ext>
            </a:extLst>
          </p:cNvPr>
          <p:cNvSpPr txBox="1"/>
          <p:nvPr/>
        </p:nvSpPr>
        <p:spPr>
          <a:xfrm>
            <a:off x="4407005" y="4156538"/>
            <a:ext cx="3996111" cy="19389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ull parity with 100% code consistenc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nmatched support &amp; backward compati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achine learning-based performance &amp; securit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1" name="TextBox 30">
            <a:extLst>
              <a:ext uri="{FF2B5EF4-FFF2-40B4-BE49-F238E27FC236}">
                <a16:creationId xmlns:a16="http://schemas.microsoft.com/office/drawing/2014/main" id="{FD4572C3-2270-438D-82EB-B8B892D115CF}"/>
              </a:ext>
            </a:extLst>
          </p:cNvPr>
          <p:cNvSpPr txBox="1"/>
          <p:nvPr/>
        </p:nvSpPr>
        <p:spPr>
          <a:xfrm>
            <a:off x="8403116" y="4156538"/>
            <a:ext cx="3674644" cy="1508105"/>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re certifications than other providers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ingle vendor suppor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use familiar skills and toolse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2" name="TextBox 31">
            <a:extLst>
              <a:ext uri="{FF2B5EF4-FFF2-40B4-BE49-F238E27FC236}">
                <a16:creationId xmlns:a16="http://schemas.microsoft.com/office/drawing/2014/main" id="{1A17152C-9D34-40B2-B18A-241DF53A945E}"/>
              </a:ext>
            </a:extLst>
          </p:cNvPr>
          <p:cNvSpPr txBox="1"/>
          <p:nvPr/>
        </p:nvSpPr>
        <p:spPr>
          <a:xfrm>
            <a:off x="-148375" y="4156538"/>
            <a:ext cx="4439201" cy="215443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Security Center + built-in OS securit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indows Admin Cent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Integrated backup, disaster recovery, &amp; ident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5" name="Commitments_EC4D">
            <a:extLst>
              <a:ext uri="{FF2B5EF4-FFF2-40B4-BE49-F238E27FC236}">
                <a16:creationId xmlns:a16="http://schemas.microsoft.com/office/drawing/2014/main" id="{FEE957A9-FA9F-4A4B-8C3F-21CD352A4097}"/>
              </a:ext>
            </a:extLst>
          </p:cNvPr>
          <p:cNvSpPr>
            <a:spLocks noChangeAspect="1" noEditPoints="1"/>
          </p:cNvSpPr>
          <p:nvPr/>
        </p:nvSpPr>
        <p:spPr bwMode="auto">
          <a:xfrm>
            <a:off x="9564610" y="2015142"/>
            <a:ext cx="675828" cy="63367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8" name="strategy" title="Icon of two circles and a curved arrow winding between three exes connecting them">
            <a:extLst>
              <a:ext uri="{FF2B5EF4-FFF2-40B4-BE49-F238E27FC236}">
                <a16:creationId xmlns:a16="http://schemas.microsoft.com/office/drawing/2014/main" id="{DE68916D-9C04-4FD4-84D7-E0E7D6C4327C}"/>
              </a:ext>
            </a:extLst>
          </p:cNvPr>
          <p:cNvSpPr>
            <a:spLocks noChangeAspect="1" noEditPoints="1"/>
          </p:cNvSpPr>
          <p:nvPr/>
        </p:nvSpPr>
        <p:spPr bwMode="auto">
          <a:xfrm>
            <a:off x="1755550" y="1941596"/>
            <a:ext cx="475614" cy="633672"/>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54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pic>
        <p:nvPicPr>
          <p:cNvPr id="39" name="Graphic 38">
            <a:extLst>
              <a:ext uri="{FF2B5EF4-FFF2-40B4-BE49-F238E27FC236}">
                <a16:creationId xmlns:a16="http://schemas.microsoft.com/office/drawing/2014/main" id="{239BF9C3-4877-4A9C-A58F-8FDAE05C2CF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33101" y="1913962"/>
            <a:ext cx="504128" cy="673072"/>
          </a:xfrm>
          <a:prstGeom prst="rect">
            <a:avLst/>
          </a:prstGeom>
        </p:spPr>
      </p:pic>
      <p:sp>
        <p:nvSpPr>
          <p:cNvPr id="3" name="TextBox 2">
            <a:extLst>
              <a:ext uri="{FF2B5EF4-FFF2-40B4-BE49-F238E27FC236}">
                <a16:creationId xmlns:a16="http://schemas.microsoft.com/office/drawing/2014/main" id="{354DD854-3FE4-4BAF-B516-CB2CCF442382}"/>
              </a:ext>
            </a:extLst>
          </p:cNvPr>
          <p:cNvSpPr txBox="1"/>
          <p:nvPr/>
        </p:nvSpPr>
        <p:spPr>
          <a:xfrm>
            <a:off x="1429705" y="6381842"/>
            <a:ext cx="9829804" cy="584775"/>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arn more: </a:t>
            </a:r>
            <a:r>
              <a:rPr kumimoji="0" lang="en-US" sz="1800" b="0" i="0" u="sng" strike="noStrike" kern="1200" cap="none" spc="0" normalizeH="0" baseline="0" noProof="0">
                <a:ln>
                  <a:noFill/>
                </a:ln>
                <a:solidFill>
                  <a:srgbClr val="1A1A1A"/>
                </a:solidFill>
                <a:effectLst/>
                <a:uLnTx/>
                <a:uFillTx/>
                <a:latin typeface="Segoe UI "/>
                <a:ea typeface="+mn-ea"/>
                <a:cs typeface="+mn-cs"/>
                <a:hlinkClick r:id="rId5"/>
              </a:rPr>
              <a:t>Windows Server on Azure </a:t>
            </a:r>
            <a:r>
              <a:rPr kumimoji="0" lang="en-US" sz="1800" b="0" i="0" u="none" strike="noStrike" kern="1200" cap="none" spc="0" normalizeH="0" baseline="0" noProof="0">
                <a:ln>
                  <a:noFill/>
                </a:ln>
                <a:solidFill>
                  <a:srgbClr val="1A1A1A"/>
                </a:solidFill>
                <a:effectLst/>
                <a:uLnTx/>
                <a:uFillTx/>
                <a:latin typeface="Segoe UI "/>
                <a:ea typeface="+mn-ea"/>
                <a:cs typeface="+mn-cs"/>
              </a:rPr>
              <a:t> | </a:t>
            </a:r>
            <a:r>
              <a:rPr kumimoji="0" lang="en-US" sz="1800" b="0" i="0" u="sng" strike="noStrike" kern="1200" cap="none" spc="0" normalizeH="0" baseline="0" noProof="0">
                <a:ln>
                  <a:noFill/>
                </a:ln>
                <a:solidFill>
                  <a:srgbClr val="1A1A1A"/>
                </a:solidFill>
                <a:effectLst/>
                <a:uLnTx/>
                <a:uFillTx/>
                <a:latin typeface="Segoe UI "/>
                <a:ea typeface="+mn-ea"/>
                <a:cs typeface="+mn-cs"/>
                <a:hlinkClick r:id="rId6"/>
              </a:rPr>
              <a:t>SQL Server on Azure</a:t>
            </a:r>
            <a:r>
              <a:rPr kumimoji="0" lang="en-US" sz="1800" b="0" i="0" u="sng" strike="noStrike" kern="1200" cap="none" spc="0" normalizeH="0" baseline="0" noProof="0">
                <a:ln>
                  <a:noFill/>
                </a:ln>
                <a:solidFill>
                  <a:srgbClr val="1A1A1A"/>
                </a:solidFill>
                <a:effectLst/>
                <a:uLnTx/>
                <a:uFillTx/>
                <a:latin typeface="Segoe UI "/>
                <a:ea typeface="+mn-ea"/>
                <a:cs typeface="+mn-cs"/>
              </a:rPr>
              <a:t> </a:t>
            </a:r>
            <a:endParaRPr kumimoji="0" lang="en-US" sz="2000" b="0" i="0" u="none" strike="noStrike" kern="1200" cap="none" spc="0" normalizeH="0" baseline="0" noProof="0">
              <a:ln>
                <a:noFill/>
              </a:ln>
              <a:solidFill>
                <a:srgbClr val="1A1A1A"/>
              </a:solidFill>
              <a:effectLst/>
              <a:uLnTx/>
              <a:uFillTx/>
              <a:latin typeface="Segoe UI "/>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6" name="TextBox 15">
            <a:extLst>
              <a:ext uri="{FF2B5EF4-FFF2-40B4-BE49-F238E27FC236}">
                <a16:creationId xmlns:a16="http://schemas.microsoft.com/office/drawing/2014/main" id="{B8B99251-0B5A-4E40-8165-7CD57E4C47E8}"/>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5572103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CFEB8-873C-45D4-9E95-9BCD0D93F1DA}"/>
              </a:ext>
            </a:extLst>
          </p:cNvPr>
          <p:cNvSpPr>
            <a:spLocks noGrp="1"/>
          </p:cNvSpPr>
          <p:nvPr>
            <p:ph type="title"/>
          </p:nvPr>
        </p:nvSpPr>
        <p:spPr>
          <a:xfrm>
            <a:off x="447368" y="2456011"/>
            <a:ext cx="9306232" cy="1218795"/>
          </a:xfrm>
        </p:spPr>
        <p:txBody>
          <a:bodyPr/>
          <a:lstStyle/>
          <a:p>
            <a:r>
              <a:rPr lang="en-US"/>
              <a:t>Migration/ Modernization strategies, projects, and innovation </a:t>
            </a:r>
          </a:p>
        </p:txBody>
      </p:sp>
      <p:sp>
        <p:nvSpPr>
          <p:cNvPr id="3" name="TextBox 2">
            <a:extLst>
              <a:ext uri="{FF2B5EF4-FFF2-40B4-BE49-F238E27FC236}">
                <a16:creationId xmlns:a16="http://schemas.microsoft.com/office/drawing/2014/main" id="{B11CCC80-8774-49B9-B585-F0D2C816F29D}"/>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389261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09E95076-250C-46F9-A58A-A8139A9C7757}"/>
              </a:ext>
            </a:extLst>
          </p:cNvPr>
          <p:cNvSpPr>
            <a:spLocks noGrp="1"/>
          </p:cNvSpPr>
          <p:nvPr>
            <p:ph type="title"/>
          </p:nvPr>
        </p:nvSpPr>
        <p:spPr>
          <a:xfrm>
            <a:off x="584200" y="457200"/>
            <a:ext cx="11018520" cy="553998"/>
          </a:xfrm>
        </p:spPr>
        <p:txBody>
          <a:bodyPr/>
          <a:lstStyle/>
          <a:p>
            <a:pPr algn="l"/>
            <a:r>
              <a:rPr lang="en-US"/>
              <a:t>Azure migration &amp; modernization scenarios</a:t>
            </a:r>
          </a:p>
        </p:txBody>
      </p:sp>
      <p:grpSp>
        <p:nvGrpSpPr>
          <p:cNvPr id="212" name="Group 211">
            <a:extLst>
              <a:ext uri="{FF2B5EF4-FFF2-40B4-BE49-F238E27FC236}">
                <a16:creationId xmlns:a16="http://schemas.microsoft.com/office/drawing/2014/main" id="{790DFB2B-7430-4696-8727-A1ACE79A50E4}"/>
              </a:ext>
            </a:extLst>
          </p:cNvPr>
          <p:cNvGrpSpPr/>
          <p:nvPr/>
        </p:nvGrpSpPr>
        <p:grpSpPr>
          <a:xfrm>
            <a:off x="2517211" y="2168388"/>
            <a:ext cx="164160" cy="1583283"/>
            <a:chOff x="2124673" y="2295425"/>
            <a:chExt cx="164160" cy="1583283"/>
          </a:xfrm>
          <a:solidFill>
            <a:schemeClr val="tx1">
              <a:lumMod val="75000"/>
              <a:lumOff val="25000"/>
            </a:schemeClr>
          </a:solidFill>
        </p:grpSpPr>
        <p:sp>
          <p:nvSpPr>
            <p:cNvPr id="213" name="Right Triangle 212">
              <a:extLst>
                <a:ext uri="{FF2B5EF4-FFF2-40B4-BE49-F238E27FC236}">
                  <a16:creationId xmlns:a16="http://schemas.microsoft.com/office/drawing/2014/main" id="{DA8F2B35-D462-43F7-9116-2D35A44A6041}"/>
                </a:ext>
              </a:extLst>
            </p:cNvPr>
            <p:cNvSpPr/>
            <p:nvPr/>
          </p:nvSpPr>
          <p:spPr bwMode="auto">
            <a:xfrm>
              <a:off x="2124673" y="2295425"/>
              <a:ext cx="164160" cy="282770"/>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Right Triangle 213">
              <a:extLst>
                <a:ext uri="{FF2B5EF4-FFF2-40B4-BE49-F238E27FC236}">
                  <a16:creationId xmlns:a16="http://schemas.microsoft.com/office/drawing/2014/main" id="{06B80180-B4CC-44A3-A02A-3E0368F150D3}"/>
                </a:ext>
              </a:extLst>
            </p:cNvPr>
            <p:cNvSpPr/>
            <p:nvPr/>
          </p:nvSpPr>
          <p:spPr bwMode="auto">
            <a:xfrm flipV="1">
              <a:off x="2124673" y="3626635"/>
              <a:ext cx="164160" cy="252073"/>
            </a:xfrm>
            <a:prstGeom prst="r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5" name="Rectangle 214">
            <a:extLst>
              <a:ext uri="{FF2B5EF4-FFF2-40B4-BE49-F238E27FC236}">
                <a16:creationId xmlns:a16="http://schemas.microsoft.com/office/drawing/2014/main" id="{2B6E0994-FE06-41F7-A080-C38A321B6E6E}"/>
              </a:ext>
            </a:extLst>
          </p:cNvPr>
          <p:cNvSpPr/>
          <p:nvPr/>
        </p:nvSpPr>
        <p:spPr bwMode="auto">
          <a:xfrm>
            <a:off x="-1282428" y="2388257"/>
            <a:ext cx="13415962" cy="1176186"/>
          </a:xfrm>
          <a:prstGeom prst="rect">
            <a:avLst/>
          </a:prstGeom>
          <a:noFill/>
          <a:ln w="25400" cap="flat" cmpd="sng" algn="ctr">
            <a:solidFill>
              <a:schemeClr val="accent1"/>
            </a:solidFill>
            <a:prstDash val="solid"/>
          </a:ln>
          <a:effectLst>
            <a:outerShdw blurRad="114300" dist="25400" dir="2700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16" name="Group 215">
            <a:extLst>
              <a:ext uri="{FF2B5EF4-FFF2-40B4-BE49-F238E27FC236}">
                <a16:creationId xmlns:a16="http://schemas.microsoft.com/office/drawing/2014/main" id="{8EEBE309-8789-4E8C-BE6C-932D4828C1C0}"/>
              </a:ext>
            </a:extLst>
          </p:cNvPr>
          <p:cNvGrpSpPr/>
          <p:nvPr/>
        </p:nvGrpSpPr>
        <p:grpSpPr>
          <a:xfrm>
            <a:off x="3047246" y="2608965"/>
            <a:ext cx="8449073" cy="773910"/>
            <a:chOff x="2884163" y="2736002"/>
            <a:chExt cx="8211471" cy="773910"/>
          </a:xfrm>
        </p:grpSpPr>
        <p:sp>
          <p:nvSpPr>
            <p:cNvPr id="217" name="TextBox 216">
              <a:extLst>
                <a:ext uri="{FF2B5EF4-FFF2-40B4-BE49-F238E27FC236}">
                  <a16:creationId xmlns:a16="http://schemas.microsoft.com/office/drawing/2014/main" id="{3AFC50C8-F6DB-4520-88E7-92379EC166C6}"/>
                </a:ext>
              </a:extLst>
            </p:cNvPr>
            <p:cNvSpPr txBox="1"/>
            <p:nvPr/>
          </p:nvSpPr>
          <p:spPr>
            <a:xfrm>
              <a:off x="10346711" y="2736002"/>
              <a:ext cx="74892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1A1A1A"/>
                      </a:gs>
                      <a:gs pos="100000">
                        <a:srgbClr val="1A1A1A"/>
                      </a:gs>
                    </a:gsLst>
                    <a:lin ang="5400000" scaled="1"/>
                  </a:gradFill>
                  <a:effectLst/>
                  <a:uLnTx/>
                  <a:uFillTx/>
                  <a:latin typeface="Segoe UI"/>
                  <a:cs typeface="Segoe UI Semibold" panose="020B0702040204020203" pitchFamily="34" charset="0"/>
                </a:rPr>
                <a:t>SaaS</a:t>
              </a:r>
            </a:p>
          </p:txBody>
        </p:sp>
        <p:sp>
          <p:nvSpPr>
            <p:cNvPr id="218" name="TextBox 217">
              <a:extLst>
                <a:ext uri="{FF2B5EF4-FFF2-40B4-BE49-F238E27FC236}">
                  <a16:creationId xmlns:a16="http://schemas.microsoft.com/office/drawing/2014/main" id="{FA037782-C250-4350-BEE0-FF83B972A074}"/>
                </a:ext>
              </a:extLst>
            </p:cNvPr>
            <p:cNvSpPr txBox="1"/>
            <p:nvPr/>
          </p:nvSpPr>
          <p:spPr>
            <a:xfrm>
              <a:off x="7723086" y="2736002"/>
              <a:ext cx="1733873" cy="369332"/>
            </a:xfrm>
            <a:prstGeom prst="rect">
              <a:avLst/>
            </a:prstGeom>
          </p:spPr>
          <p:txBody>
            <a:bodyPr wrap="none"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1A1A1A"/>
                      </a:gs>
                      <a:gs pos="100000">
                        <a:srgbClr val="1A1A1A"/>
                      </a:gs>
                    </a:gsLst>
                    <a:lin ang="5400000" scaled="1"/>
                  </a:gradFill>
                  <a:effectLst/>
                  <a:uLnTx/>
                  <a:uFillTx/>
                  <a:latin typeface="Segoe UI"/>
                  <a:cs typeface="Segoe UI Semibold" panose="020B0702040204020203" pitchFamily="34" charset="0"/>
                </a:rPr>
                <a:t>Cloud-native</a:t>
              </a:r>
            </a:p>
          </p:txBody>
        </p:sp>
        <p:sp>
          <p:nvSpPr>
            <p:cNvPr id="219" name="TextBox 218">
              <a:extLst>
                <a:ext uri="{FF2B5EF4-FFF2-40B4-BE49-F238E27FC236}">
                  <a16:creationId xmlns:a16="http://schemas.microsoft.com/office/drawing/2014/main" id="{2D385AA5-66BD-4C5B-92C2-234B180A8460}"/>
                </a:ext>
              </a:extLst>
            </p:cNvPr>
            <p:cNvSpPr txBox="1"/>
            <p:nvPr/>
          </p:nvSpPr>
          <p:spPr>
            <a:xfrm>
              <a:off x="2884163" y="3159047"/>
              <a:ext cx="53113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host</a:t>
              </a:r>
            </a:p>
          </p:txBody>
        </p:sp>
        <p:sp>
          <p:nvSpPr>
            <p:cNvPr id="220" name="TextBox 219">
              <a:extLst>
                <a:ext uri="{FF2B5EF4-FFF2-40B4-BE49-F238E27FC236}">
                  <a16:creationId xmlns:a16="http://schemas.microsoft.com/office/drawing/2014/main" id="{57E85FE6-8581-4A41-8C8B-D9572FBC5AD1}"/>
                </a:ext>
              </a:extLst>
            </p:cNvPr>
            <p:cNvSpPr txBox="1"/>
            <p:nvPr/>
          </p:nvSpPr>
          <p:spPr>
            <a:xfrm>
              <a:off x="4311651" y="3159047"/>
              <a:ext cx="679790"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factor</a:t>
              </a:r>
            </a:p>
          </p:txBody>
        </p:sp>
        <p:sp>
          <p:nvSpPr>
            <p:cNvPr id="221" name="TextBox 220">
              <a:extLst>
                <a:ext uri="{FF2B5EF4-FFF2-40B4-BE49-F238E27FC236}">
                  <a16:creationId xmlns:a16="http://schemas.microsoft.com/office/drawing/2014/main" id="{B3064A19-3CD6-41B3-BCBD-63202EA88D26}"/>
                </a:ext>
              </a:extLst>
            </p:cNvPr>
            <p:cNvSpPr txBox="1"/>
            <p:nvPr/>
          </p:nvSpPr>
          <p:spPr>
            <a:xfrm>
              <a:off x="5921376" y="3159047"/>
              <a:ext cx="774458"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architect</a:t>
              </a:r>
            </a:p>
          </p:txBody>
        </p:sp>
        <p:sp>
          <p:nvSpPr>
            <p:cNvPr id="222" name="TextBox 221">
              <a:extLst>
                <a:ext uri="{FF2B5EF4-FFF2-40B4-BE49-F238E27FC236}">
                  <a16:creationId xmlns:a16="http://schemas.microsoft.com/office/drawing/2014/main" id="{C3B1DCF6-8466-43CF-A030-B271FD5A1768}"/>
                </a:ext>
              </a:extLst>
            </p:cNvPr>
            <p:cNvSpPr txBox="1"/>
            <p:nvPr/>
          </p:nvSpPr>
          <p:spPr>
            <a:xfrm>
              <a:off x="8076746" y="3159047"/>
              <a:ext cx="102459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build/New</a:t>
              </a:r>
            </a:p>
          </p:txBody>
        </p:sp>
        <p:sp>
          <p:nvSpPr>
            <p:cNvPr id="223" name="TextBox 222">
              <a:extLst>
                <a:ext uri="{FF2B5EF4-FFF2-40B4-BE49-F238E27FC236}">
                  <a16:creationId xmlns:a16="http://schemas.microsoft.com/office/drawing/2014/main" id="{0B841DAE-D593-4029-81CE-0688C84C8D8A}"/>
                </a:ext>
              </a:extLst>
            </p:cNvPr>
            <p:cNvSpPr txBox="1"/>
            <p:nvPr/>
          </p:nvSpPr>
          <p:spPr>
            <a:xfrm>
              <a:off x="10452587" y="3159047"/>
              <a:ext cx="537172" cy="350865"/>
            </a:xfrm>
            <a:prstGeom prst="rect">
              <a:avLst/>
            </a:prstGeom>
            <a:noFill/>
          </p:spPr>
          <p:txBody>
            <a:bodyPr wrap="square" lIns="0" tIns="91440" rIns="0" bIns="9144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Semibold"/>
                  <a:ea typeface="+mn-ea"/>
                  <a:cs typeface="Segoe UI" panose="020B0502040204020203" pitchFamily="34" charset="0"/>
                </a:rPr>
                <a:t>Replace</a:t>
              </a:r>
            </a:p>
          </p:txBody>
        </p:sp>
        <p:sp>
          <p:nvSpPr>
            <p:cNvPr id="224" name="Rectangle 223">
              <a:extLst>
                <a:ext uri="{FF2B5EF4-FFF2-40B4-BE49-F238E27FC236}">
                  <a16:creationId xmlns:a16="http://schemas.microsoft.com/office/drawing/2014/main" id="{DBDB8F2F-34D7-4A9A-AA3D-2832673E6185}"/>
                </a:ext>
              </a:extLst>
            </p:cNvPr>
            <p:cNvSpPr/>
            <p:nvPr/>
          </p:nvSpPr>
          <p:spPr>
            <a:xfrm>
              <a:off x="3024334" y="2736002"/>
              <a:ext cx="3521284" cy="369332"/>
            </a:xfrm>
            <a:prstGeom prst="rect">
              <a:avLst/>
            </a:prstGeom>
          </p:spPr>
          <p:txBody>
            <a:bodyPr wrap="none" anchor="ctr">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Semibold" panose="020B0702040204020203" pitchFamily="34" charset="0"/>
                </a:rPr>
                <a:t>Migration &amp; Modernization</a:t>
              </a:r>
            </a:p>
          </p:txBody>
        </p:sp>
      </p:grpSp>
      <p:sp>
        <p:nvSpPr>
          <p:cNvPr id="225" name="TextBox 224">
            <a:extLst>
              <a:ext uri="{FF2B5EF4-FFF2-40B4-BE49-F238E27FC236}">
                <a16:creationId xmlns:a16="http://schemas.microsoft.com/office/drawing/2014/main" id="{5EEB6F68-372F-4C3D-86DD-E455CD798DBF}"/>
              </a:ext>
            </a:extLst>
          </p:cNvPr>
          <p:cNvSpPr txBox="1"/>
          <p:nvPr/>
        </p:nvSpPr>
        <p:spPr>
          <a:xfrm rot="16200000">
            <a:off x="14273" y="2880269"/>
            <a:ext cx="1516924" cy="215444"/>
          </a:xfrm>
          <a:prstGeom prst="rect">
            <a:avLst/>
          </a:prstGeom>
          <a:noFill/>
        </p:spPr>
        <p:txBody>
          <a:bodyPr wrap="square" lIns="0" tIns="0" rIns="0" bIns="0" rtlCol="0">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On-premises</a:t>
            </a:r>
          </a:p>
        </p:txBody>
      </p:sp>
      <p:sp>
        <p:nvSpPr>
          <p:cNvPr id="226" name="Rectangle 225">
            <a:extLst>
              <a:ext uri="{FF2B5EF4-FFF2-40B4-BE49-F238E27FC236}">
                <a16:creationId xmlns:a16="http://schemas.microsoft.com/office/drawing/2014/main" id="{42242D30-FC8F-4877-8808-BDC797457837}"/>
              </a:ext>
            </a:extLst>
          </p:cNvPr>
          <p:cNvSpPr/>
          <p:nvPr/>
        </p:nvSpPr>
        <p:spPr bwMode="auto">
          <a:xfrm>
            <a:off x="980801" y="2166658"/>
            <a:ext cx="1534901" cy="1585014"/>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78D4"/>
              </a:solidFill>
              <a:effectLst/>
              <a:uLnTx/>
              <a:uFillTx/>
              <a:latin typeface="Segoe UI Semilight"/>
              <a:ea typeface="+mn-ea"/>
              <a:cs typeface="+mn-cs"/>
            </a:endParaRPr>
          </a:p>
        </p:txBody>
      </p:sp>
      <p:grpSp>
        <p:nvGrpSpPr>
          <p:cNvPr id="227" name="Group 226">
            <a:extLst>
              <a:ext uri="{FF2B5EF4-FFF2-40B4-BE49-F238E27FC236}">
                <a16:creationId xmlns:a16="http://schemas.microsoft.com/office/drawing/2014/main" id="{9C612D01-8884-48D9-B493-C0A4DA6E1E3F}"/>
              </a:ext>
            </a:extLst>
          </p:cNvPr>
          <p:cNvGrpSpPr/>
          <p:nvPr/>
        </p:nvGrpSpPr>
        <p:grpSpPr>
          <a:xfrm>
            <a:off x="934420" y="2253395"/>
            <a:ext cx="1620644" cy="1418646"/>
            <a:chOff x="541882" y="2380432"/>
            <a:chExt cx="1620644" cy="1418646"/>
          </a:xfrm>
        </p:grpSpPr>
        <p:sp>
          <p:nvSpPr>
            <p:cNvPr id="228" name="TextBox 227">
              <a:extLst>
                <a:ext uri="{FF2B5EF4-FFF2-40B4-BE49-F238E27FC236}">
                  <a16:creationId xmlns:a16="http://schemas.microsoft.com/office/drawing/2014/main" id="{92EF08FE-429C-4950-83D1-0DF3F260F606}"/>
                </a:ext>
              </a:extLst>
            </p:cNvPr>
            <p:cNvSpPr txBox="1"/>
            <p:nvPr/>
          </p:nvSpPr>
          <p:spPr>
            <a:xfrm>
              <a:off x="988220" y="2380432"/>
              <a:ext cx="727966" cy="430887"/>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App</a:t>
              </a:r>
            </a:p>
          </p:txBody>
        </p:sp>
        <p:sp>
          <p:nvSpPr>
            <p:cNvPr id="229" name="TextBox 228">
              <a:extLst>
                <a:ext uri="{FF2B5EF4-FFF2-40B4-BE49-F238E27FC236}">
                  <a16:creationId xmlns:a16="http://schemas.microsoft.com/office/drawing/2014/main" id="{FB88FC9F-FF56-4DBD-8208-86294038BAA8}"/>
                </a:ext>
              </a:extLst>
            </p:cNvPr>
            <p:cNvSpPr txBox="1"/>
            <p:nvPr/>
          </p:nvSpPr>
          <p:spPr>
            <a:xfrm>
              <a:off x="988220" y="2874311"/>
              <a:ext cx="727968" cy="430887"/>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Data</a:t>
              </a:r>
            </a:p>
          </p:txBody>
        </p:sp>
        <p:sp>
          <p:nvSpPr>
            <p:cNvPr id="230" name="TextBox 229">
              <a:extLst>
                <a:ext uri="{FF2B5EF4-FFF2-40B4-BE49-F238E27FC236}">
                  <a16:creationId xmlns:a16="http://schemas.microsoft.com/office/drawing/2014/main" id="{11A8F928-C7E3-4A7B-BFA0-F27446C46AB8}"/>
                </a:ext>
              </a:extLst>
            </p:cNvPr>
            <p:cNvSpPr txBox="1"/>
            <p:nvPr/>
          </p:nvSpPr>
          <p:spPr>
            <a:xfrm>
              <a:off x="541882" y="3368191"/>
              <a:ext cx="1620644" cy="430887"/>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Infrastructure</a:t>
              </a:r>
            </a:p>
          </p:txBody>
        </p:sp>
        <p:sp>
          <p:nvSpPr>
            <p:cNvPr id="231" name="Freeform: Shape 230">
              <a:extLst>
                <a:ext uri="{FF2B5EF4-FFF2-40B4-BE49-F238E27FC236}">
                  <a16:creationId xmlns:a16="http://schemas.microsoft.com/office/drawing/2014/main" id="{0AF68AE6-FCA0-4DAF-89C8-99F3387D33D7}"/>
                </a:ext>
              </a:extLst>
            </p:cNvPr>
            <p:cNvSpPr/>
            <p:nvPr/>
          </p:nvSpPr>
          <p:spPr bwMode="auto">
            <a:xfrm>
              <a:off x="898513" y="3336694"/>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5D602501-DC9B-4CFD-AE60-C68A3F8054DB}"/>
                </a:ext>
              </a:extLst>
            </p:cNvPr>
            <p:cNvSpPr/>
            <p:nvPr/>
          </p:nvSpPr>
          <p:spPr bwMode="auto">
            <a:xfrm>
              <a:off x="898513" y="2842815"/>
              <a:ext cx="914400" cy="0"/>
            </a:xfrm>
            <a:custGeom>
              <a:avLst/>
              <a:gdLst>
                <a:gd name="connsiteX0" fmla="*/ 0 w 1104900"/>
                <a:gd name="connsiteY0" fmla="*/ 0 h 0"/>
                <a:gd name="connsiteX1" fmla="*/ 1104900 w 1104900"/>
                <a:gd name="connsiteY1" fmla="*/ 0 h 0"/>
              </a:gdLst>
              <a:ahLst/>
              <a:cxnLst>
                <a:cxn ang="0">
                  <a:pos x="connsiteX0" y="connsiteY0"/>
                </a:cxn>
                <a:cxn ang="0">
                  <a:pos x="connsiteX1" y="connsiteY1"/>
                </a:cxn>
              </a:cxnLst>
              <a:rect l="l" t="t" r="r" b="b"/>
              <a:pathLst>
                <a:path w="1104900">
                  <a:moveTo>
                    <a:pt x="0" y="0"/>
                  </a:moveTo>
                  <a:lnTo>
                    <a:pt x="1104900" y="0"/>
                  </a:lnTo>
                </a:path>
              </a:pathLst>
            </a:custGeom>
            <a:noFill/>
            <a:ln w="158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EB35D963-131B-442B-959D-765C9C881DA1}"/>
              </a:ext>
            </a:extLst>
          </p:cNvPr>
          <p:cNvGrpSpPr/>
          <p:nvPr/>
        </p:nvGrpSpPr>
        <p:grpSpPr>
          <a:xfrm>
            <a:off x="2681371" y="4208196"/>
            <a:ext cx="7579326" cy="1076831"/>
            <a:chOff x="3278836" y="4618917"/>
            <a:chExt cx="7579326" cy="1076831"/>
          </a:xfrm>
        </p:grpSpPr>
        <p:grpSp>
          <p:nvGrpSpPr>
            <p:cNvPr id="234" name="Group 233">
              <a:extLst>
                <a:ext uri="{FF2B5EF4-FFF2-40B4-BE49-F238E27FC236}">
                  <a16:creationId xmlns:a16="http://schemas.microsoft.com/office/drawing/2014/main" id="{AE6F4C08-E4C4-4A07-8FC8-441065F34BFE}"/>
                </a:ext>
              </a:extLst>
            </p:cNvPr>
            <p:cNvGrpSpPr/>
            <p:nvPr/>
          </p:nvGrpSpPr>
          <p:grpSpPr>
            <a:xfrm>
              <a:off x="3278836" y="5230701"/>
              <a:ext cx="7579326" cy="465047"/>
              <a:chOff x="3062660" y="4769433"/>
              <a:chExt cx="7579326" cy="465047"/>
            </a:xfrm>
          </p:grpSpPr>
          <p:sp>
            <p:nvSpPr>
              <p:cNvPr id="284" name="Left Bracket 283">
                <a:extLst>
                  <a:ext uri="{FF2B5EF4-FFF2-40B4-BE49-F238E27FC236}">
                    <a16:creationId xmlns:a16="http://schemas.microsoft.com/office/drawing/2014/main" id="{2D34360C-F4CE-4AA0-B84E-FB3A50395820}"/>
                  </a:ext>
                </a:extLst>
              </p:cNvPr>
              <p:cNvSpPr/>
              <p:nvPr/>
            </p:nvSpPr>
            <p:spPr>
              <a:xfrm rot="16200000">
                <a:off x="6731232" y="1100861"/>
                <a:ext cx="242182" cy="7579326"/>
              </a:xfrm>
              <a:prstGeom prst="leftBracket">
                <a:avLst>
                  <a:gd name="adj" fmla="val 2963"/>
                </a:avLst>
              </a:prstGeom>
              <a:ln w="15875">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5" name="TextBox 284">
                <a:extLst>
                  <a:ext uri="{FF2B5EF4-FFF2-40B4-BE49-F238E27FC236}">
                    <a16:creationId xmlns:a16="http://schemas.microsoft.com/office/drawing/2014/main" id="{F0A44B9A-F997-4AAC-906E-CEAFCA92FB7A}"/>
                  </a:ext>
                </a:extLst>
              </p:cNvPr>
              <p:cNvSpPr txBox="1"/>
              <p:nvPr/>
            </p:nvSpPr>
            <p:spPr>
              <a:xfrm>
                <a:off x="5644291" y="4834370"/>
                <a:ext cx="2716979" cy="400110"/>
              </a:xfrm>
              <a:prstGeom prst="rect">
                <a:avLst/>
              </a:prstGeom>
              <a:solidFill>
                <a:srgbClr val="E6E6E6"/>
              </a:solidFill>
              <a:ln>
                <a:noFill/>
              </a:ln>
            </p:spPr>
            <p:txBody>
              <a:bodyPr wrap="square" lIns="91440" tIns="91440" rIns="91440" bIns="91440"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Security   |   Management</a:t>
                </a:r>
              </a:p>
            </p:txBody>
          </p:sp>
        </p:grpSp>
        <p:grpSp>
          <p:nvGrpSpPr>
            <p:cNvPr id="235" name="Group 234">
              <a:extLst>
                <a:ext uri="{FF2B5EF4-FFF2-40B4-BE49-F238E27FC236}">
                  <a16:creationId xmlns:a16="http://schemas.microsoft.com/office/drawing/2014/main" id="{EB82DC26-3D32-4D8E-835A-AECC67968646}"/>
                </a:ext>
              </a:extLst>
            </p:cNvPr>
            <p:cNvGrpSpPr/>
            <p:nvPr/>
          </p:nvGrpSpPr>
          <p:grpSpPr>
            <a:xfrm>
              <a:off x="3881690" y="4618917"/>
              <a:ext cx="6609593" cy="400110"/>
              <a:chOff x="2993008" y="4402607"/>
              <a:chExt cx="6609593" cy="400110"/>
            </a:xfrm>
          </p:grpSpPr>
          <p:grpSp>
            <p:nvGrpSpPr>
              <p:cNvPr id="236" name="Group 235">
                <a:extLst>
                  <a:ext uri="{FF2B5EF4-FFF2-40B4-BE49-F238E27FC236}">
                    <a16:creationId xmlns:a16="http://schemas.microsoft.com/office/drawing/2014/main" id="{D7B87329-167C-4479-8C5C-6DB7A338FED2}"/>
                  </a:ext>
                </a:extLst>
              </p:cNvPr>
              <p:cNvGrpSpPr/>
              <p:nvPr/>
            </p:nvGrpSpPr>
            <p:grpSpPr>
              <a:xfrm>
                <a:off x="7146577" y="4402607"/>
                <a:ext cx="2456024" cy="400110"/>
                <a:chOff x="8315096" y="4145689"/>
                <a:chExt cx="2456024" cy="400110"/>
              </a:xfrm>
            </p:grpSpPr>
            <p:grpSp>
              <p:nvGrpSpPr>
                <p:cNvPr id="270" name="Group 16">
                  <a:extLst>
                    <a:ext uri="{FF2B5EF4-FFF2-40B4-BE49-F238E27FC236}">
                      <a16:creationId xmlns:a16="http://schemas.microsoft.com/office/drawing/2014/main" id="{8A9A66D1-99D8-4DCB-9F1E-0ED341CF3422}"/>
                    </a:ext>
                  </a:extLst>
                </p:cNvPr>
                <p:cNvGrpSpPr>
                  <a:grpSpLocks noChangeAspect="1"/>
                </p:cNvGrpSpPr>
                <p:nvPr/>
              </p:nvGrpSpPr>
              <p:grpSpPr bwMode="auto">
                <a:xfrm>
                  <a:off x="8315096" y="4194223"/>
                  <a:ext cx="261987" cy="303043"/>
                  <a:chOff x="13" y="7"/>
                  <a:chExt cx="351" cy="406"/>
                </a:xfrm>
              </p:grpSpPr>
              <p:sp>
                <p:nvSpPr>
                  <p:cNvPr id="272" name="Freeform 17">
                    <a:extLst>
                      <a:ext uri="{FF2B5EF4-FFF2-40B4-BE49-F238E27FC236}">
                        <a16:creationId xmlns:a16="http://schemas.microsoft.com/office/drawing/2014/main" id="{570C2E90-6BA0-4878-A2A0-CB60633F4ED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3" name="Freeform 18">
                    <a:extLst>
                      <a:ext uri="{FF2B5EF4-FFF2-40B4-BE49-F238E27FC236}">
                        <a16:creationId xmlns:a16="http://schemas.microsoft.com/office/drawing/2014/main" id="{6D6967B4-88DA-4878-83FF-265288A0AA66}"/>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4" name="Line 19">
                    <a:extLst>
                      <a:ext uri="{FF2B5EF4-FFF2-40B4-BE49-F238E27FC236}">
                        <a16:creationId xmlns:a16="http://schemas.microsoft.com/office/drawing/2014/main" id="{2DE59B93-2235-4B41-8E4E-E970A32F8EFF}"/>
                      </a:ext>
                    </a:extLst>
                  </p:cNvPr>
                  <p:cNvSpPr>
                    <a:spLocks noChangeShapeType="1"/>
                  </p:cNvSpPr>
                  <p:nvPr/>
                </p:nvSpPr>
                <p:spPr bwMode="auto">
                  <a:xfrm>
                    <a:off x="288" y="282"/>
                    <a:ext cx="0" cy="93"/>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5" name="Freeform 20">
                    <a:extLst>
                      <a:ext uri="{FF2B5EF4-FFF2-40B4-BE49-F238E27FC236}">
                        <a16:creationId xmlns:a16="http://schemas.microsoft.com/office/drawing/2014/main" id="{33564952-E5CB-4619-AD2A-E33FCCFDC117}"/>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6" name="Freeform 21">
                    <a:extLst>
                      <a:ext uri="{FF2B5EF4-FFF2-40B4-BE49-F238E27FC236}">
                        <a16:creationId xmlns:a16="http://schemas.microsoft.com/office/drawing/2014/main" id="{C1457044-00A8-4A15-8CCB-C866DC33D44E}"/>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7" name="Line 22">
                    <a:extLst>
                      <a:ext uri="{FF2B5EF4-FFF2-40B4-BE49-F238E27FC236}">
                        <a16:creationId xmlns:a16="http://schemas.microsoft.com/office/drawing/2014/main" id="{EE6F538E-1C0A-4F7E-A134-7563585C3403}"/>
                      </a:ext>
                    </a:extLst>
                  </p:cNvPr>
                  <p:cNvSpPr>
                    <a:spLocks noChangeShapeType="1"/>
                  </p:cNvSpPr>
                  <p:nvPr/>
                </p:nvSpPr>
                <p:spPr bwMode="auto">
                  <a:xfrm>
                    <a:off x="89" y="282"/>
                    <a:ext cx="0" cy="93"/>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8" name="Freeform 23">
                    <a:extLst>
                      <a:ext uri="{FF2B5EF4-FFF2-40B4-BE49-F238E27FC236}">
                        <a16:creationId xmlns:a16="http://schemas.microsoft.com/office/drawing/2014/main" id="{EF09D5D7-93AD-4E30-A330-DB8E7F972227}"/>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79" name="Freeform 24">
                    <a:extLst>
                      <a:ext uri="{FF2B5EF4-FFF2-40B4-BE49-F238E27FC236}">
                        <a16:creationId xmlns:a16="http://schemas.microsoft.com/office/drawing/2014/main" id="{6DF57C2D-F6EC-4F0A-B887-491A213ED246}"/>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0" name="Freeform 25">
                    <a:extLst>
                      <a:ext uri="{FF2B5EF4-FFF2-40B4-BE49-F238E27FC236}">
                        <a16:creationId xmlns:a16="http://schemas.microsoft.com/office/drawing/2014/main" id="{95E7CFF7-54B9-4BDC-8CF8-A2405B48A2BC}"/>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1" name="Line 26">
                    <a:extLst>
                      <a:ext uri="{FF2B5EF4-FFF2-40B4-BE49-F238E27FC236}">
                        <a16:creationId xmlns:a16="http://schemas.microsoft.com/office/drawing/2014/main" id="{D2BF4416-B0AA-4C1F-8E7D-2D084E33E324}"/>
                      </a:ext>
                    </a:extLst>
                  </p:cNvPr>
                  <p:cNvSpPr>
                    <a:spLocks noChangeShapeType="1"/>
                  </p:cNvSpPr>
                  <p:nvPr/>
                </p:nvSpPr>
                <p:spPr bwMode="auto">
                  <a:xfrm>
                    <a:off x="189" y="96"/>
                    <a:ext cx="0" cy="8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2" name="Freeform 27">
                    <a:extLst>
                      <a:ext uri="{FF2B5EF4-FFF2-40B4-BE49-F238E27FC236}">
                        <a16:creationId xmlns:a16="http://schemas.microsoft.com/office/drawing/2014/main" id="{A6F0FF2D-1285-48E6-B498-A558A8403105}"/>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83" name="Freeform 28">
                    <a:extLst>
                      <a:ext uri="{FF2B5EF4-FFF2-40B4-BE49-F238E27FC236}">
                        <a16:creationId xmlns:a16="http://schemas.microsoft.com/office/drawing/2014/main" id="{FEF7A3DA-1747-4926-98F3-23F5B5709C58}"/>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271" name="TextBox 270">
                  <a:extLst>
                    <a:ext uri="{FF2B5EF4-FFF2-40B4-BE49-F238E27FC236}">
                      <a16:creationId xmlns:a16="http://schemas.microsoft.com/office/drawing/2014/main" id="{13BF076E-74CC-4D2A-BF6A-838A52230416}"/>
                    </a:ext>
                  </a:extLst>
                </p:cNvPr>
                <p:cNvSpPr txBox="1"/>
                <p:nvPr/>
              </p:nvSpPr>
              <p:spPr>
                <a:xfrm>
                  <a:off x="8632529" y="4145689"/>
                  <a:ext cx="2138591" cy="400110"/>
                </a:xfrm>
                <a:prstGeom prst="rect">
                  <a:avLst/>
                </a:prstGeom>
                <a:noFill/>
                <a:ln>
                  <a:noFill/>
                </a:ln>
              </p:spPr>
              <p:txBody>
                <a:bodyPr wrap="square" lIns="91440" tIns="91440" rIns="91440" bIns="91440" rtlCol="0" anchor="t">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App, Data, &amp; AI Services</a:t>
                  </a:r>
                  <a:endParaRPr kumimoji="0" lang="en-US" sz="105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endParaRPr>
                </a:p>
              </p:txBody>
            </p:sp>
          </p:grpSp>
          <p:grpSp>
            <p:nvGrpSpPr>
              <p:cNvPr id="237" name="Group 236">
                <a:extLst>
                  <a:ext uri="{FF2B5EF4-FFF2-40B4-BE49-F238E27FC236}">
                    <a16:creationId xmlns:a16="http://schemas.microsoft.com/office/drawing/2014/main" id="{5C3E0232-6DD8-46C0-AA4F-DE883C34AE16}"/>
                  </a:ext>
                </a:extLst>
              </p:cNvPr>
              <p:cNvGrpSpPr/>
              <p:nvPr/>
            </p:nvGrpSpPr>
            <p:grpSpPr>
              <a:xfrm>
                <a:off x="2993008" y="4402607"/>
                <a:ext cx="1866264" cy="400110"/>
                <a:chOff x="3419475" y="4145689"/>
                <a:chExt cx="1866264" cy="400110"/>
              </a:xfrm>
            </p:grpSpPr>
            <p:grpSp>
              <p:nvGrpSpPr>
                <p:cNvPr id="253" name="Group 31">
                  <a:extLst>
                    <a:ext uri="{FF2B5EF4-FFF2-40B4-BE49-F238E27FC236}">
                      <a16:creationId xmlns:a16="http://schemas.microsoft.com/office/drawing/2014/main" id="{D96ED0D1-6EEB-4A3D-B796-86F840EC8C2C}"/>
                    </a:ext>
                  </a:extLst>
                </p:cNvPr>
                <p:cNvGrpSpPr>
                  <a:grpSpLocks noChangeAspect="1"/>
                </p:cNvGrpSpPr>
                <p:nvPr/>
              </p:nvGrpSpPr>
              <p:grpSpPr bwMode="auto">
                <a:xfrm>
                  <a:off x="3419475" y="4215645"/>
                  <a:ext cx="259638" cy="260198"/>
                  <a:chOff x="12" y="7"/>
                  <a:chExt cx="221" cy="231"/>
                </a:xfrm>
              </p:grpSpPr>
              <p:sp>
                <p:nvSpPr>
                  <p:cNvPr id="255" name="Rectangle 32">
                    <a:extLst>
                      <a:ext uri="{FF2B5EF4-FFF2-40B4-BE49-F238E27FC236}">
                        <a16:creationId xmlns:a16="http://schemas.microsoft.com/office/drawing/2014/main" id="{AB01ACA7-7D36-4971-A2C7-6B911E45A7BB}"/>
                      </a:ext>
                    </a:extLst>
                  </p:cNvPr>
                  <p:cNvSpPr>
                    <a:spLocks noChangeArrowheads="1"/>
                  </p:cNvSpPr>
                  <p:nvPr/>
                </p:nvSpPr>
                <p:spPr bwMode="auto">
                  <a:xfrm>
                    <a:off x="12" y="7"/>
                    <a:ext cx="221" cy="60"/>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6" name="Line 33">
                    <a:extLst>
                      <a:ext uri="{FF2B5EF4-FFF2-40B4-BE49-F238E27FC236}">
                        <a16:creationId xmlns:a16="http://schemas.microsoft.com/office/drawing/2014/main" id="{E6F7B09C-0E27-44D1-ABE2-6E76B4ED47F7}"/>
                      </a:ext>
                    </a:extLst>
                  </p:cNvPr>
                  <p:cNvSpPr>
                    <a:spLocks noChangeShapeType="1"/>
                  </p:cNvSpPr>
                  <p:nvPr/>
                </p:nvSpPr>
                <p:spPr bwMode="auto">
                  <a:xfrm flipH="1">
                    <a:off x="191" y="37"/>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7" name="Line 34">
                    <a:extLst>
                      <a:ext uri="{FF2B5EF4-FFF2-40B4-BE49-F238E27FC236}">
                        <a16:creationId xmlns:a16="http://schemas.microsoft.com/office/drawing/2014/main" id="{4FDF70D3-C261-46B0-B94F-19F1E2B8C8DD}"/>
                      </a:ext>
                    </a:extLst>
                  </p:cNvPr>
                  <p:cNvSpPr>
                    <a:spLocks noChangeShapeType="1"/>
                  </p:cNvSpPr>
                  <p:nvPr/>
                </p:nvSpPr>
                <p:spPr bwMode="auto">
                  <a:xfrm flipH="1">
                    <a:off x="157" y="37"/>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8" name="Line 35">
                    <a:extLst>
                      <a:ext uri="{FF2B5EF4-FFF2-40B4-BE49-F238E27FC236}">
                        <a16:creationId xmlns:a16="http://schemas.microsoft.com/office/drawing/2014/main" id="{EA17486F-744F-4503-8CB0-33CB4C22483A}"/>
                      </a:ext>
                    </a:extLst>
                  </p:cNvPr>
                  <p:cNvSpPr>
                    <a:spLocks noChangeShapeType="1"/>
                  </p:cNvSpPr>
                  <p:nvPr/>
                </p:nvSpPr>
                <p:spPr bwMode="auto">
                  <a:xfrm flipH="1">
                    <a:off x="54" y="37"/>
                    <a:ext cx="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59" name="Rectangle 36">
                    <a:extLst>
                      <a:ext uri="{FF2B5EF4-FFF2-40B4-BE49-F238E27FC236}">
                        <a16:creationId xmlns:a16="http://schemas.microsoft.com/office/drawing/2014/main" id="{840B4D74-895C-4B49-8C40-E6F87C6E1166}"/>
                      </a:ext>
                    </a:extLst>
                  </p:cNvPr>
                  <p:cNvSpPr>
                    <a:spLocks noChangeArrowheads="1"/>
                  </p:cNvSpPr>
                  <p:nvPr/>
                </p:nvSpPr>
                <p:spPr bwMode="auto">
                  <a:xfrm>
                    <a:off x="12" y="93"/>
                    <a:ext cx="221" cy="59"/>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0" name="Line 37">
                    <a:extLst>
                      <a:ext uri="{FF2B5EF4-FFF2-40B4-BE49-F238E27FC236}">
                        <a16:creationId xmlns:a16="http://schemas.microsoft.com/office/drawing/2014/main" id="{65D33783-27E6-494F-A366-0AD230E17FE6}"/>
                      </a:ext>
                    </a:extLst>
                  </p:cNvPr>
                  <p:cNvSpPr>
                    <a:spLocks noChangeShapeType="1"/>
                  </p:cNvSpPr>
                  <p:nvPr/>
                </p:nvSpPr>
                <p:spPr bwMode="auto">
                  <a:xfrm flipH="1">
                    <a:off x="191" y="123"/>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1" name="Line 38">
                    <a:extLst>
                      <a:ext uri="{FF2B5EF4-FFF2-40B4-BE49-F238E27FC236}">
                        <a16:creationId xmlns:a16="http://schemas.microsoft.com/office/drawing/2014/main" id="{C03DD042-36A4-4BE7-ACFD-981C46447A1F}"/>
                      </a:ext>
                    </a:extLst>
                  </p:cNvPr>
                  <p:cNvSpPr>
                    <a:spLocks noChangeShapeType="1"/>
                  </p:cNvSpPr>
                  <p:nvPr/>
                </p:nvSpPr>
                <p:spPr bwMode="auto">
                  <a:xfrm flipH="1">
                    <a:off x="157" y="123"/>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2" name="Line 39">
                    <a:extLst>
                      <a:ext uri="{FF2B5EF4-FFF2-40B4-BE49-F238E27FC236}">
                        <a16:creationId xmlns:a16="http://schemas.microsoft.com/office/drawing/2014/main" id="{8E4DEE99-A5F7-42E3-B167-E66035711620}"/>
                      </a:ext>
                    </a:extLst>
                  </p:cNvPr>
                  <p:cNvSpPr>
                    <a:spLocks noChangeShapeType="1"/>
                  </p:cNvSpPr>
                  <p:nvPr/>
                </p:nvSpPr>
                <p:spPr bwMode="auto">
                  <a:xfrm flipH="1">
                    <a:off x="54" y="123"/>
                    <a:ext cx="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3" name="Rectangle 40">
                    <a:extLst>
                      <a:ext uri="{FF2B5EF4-FFF2-40B4-BE49-F238E27FC236}">
                        <a16:creationId xmlns:a16="http://schemas.microsoft.com/office/drawing/2014/main" id="{B99DE3C3-120C-4A08-82AB-B632DD6B4CF4}"/>
                      </a:ext>
                    </a:extLst>
                  </p:cNvPr>
                  <p:cNvSpPr>
                    <a:spLocks noChangeArrowheads="1"/>
                  </p:cNvSpPr>
                  <p:nvPr/>
                </p:nvSpPr>
                <p:spPr bwMode="auto">
                  <a:xfrm>
                    <a:off x="12" y="178"/>
                    <a:ext cx="221" cy="60"/>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4" name="Line 41">
                    <a:extLst>
                      <a:ext uri="{FF2B5EF4-FFF2-40B4-BE49-F238E27FC236}">
                        <a16:creationId xmlns:a16="http://schemas.microsoft.com/office/drawing/2014/main" id="{4EC445B3-1262-4649-95F4-6EF0E9290FDC}"/>
                      </a:ext>
                    </a:extLst>
                  </p:cNvPr>
                  <p:cNvSpPr>
                    <a:spLocks noChangeShapeType="1"/>
                  </p:cNvSpPr>
                  <p:nvPr/>
                </p:nvSpPr>
                <p:spPr bwMode="auto">
                  <a:xfrm flipH="1">
                    <a:off x="191" y="208"/>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5" name="Line 42">
                    <a:extLst>
                      <a:ext uri="{FF2B5EF4-FFF2-40B4-BE49-F238E27FC236}">
                        <a16:creationId xmlns:a16="http://schemas.microsoft.com/office/drawing/2014/main" id="{D655C3A3-B62A-41AB-BD7E-B7F1425B73A7}"/>
                      </a:ext>
                    </a:extLst>
                  </p:cNvPr>
                  <p:cNvSpPr>
                    <a:spLocks noChangeShapeType="1"/>
                  </p:cNvSpPr>
                  <p:nvPr/>
                </p:nvSpPr>
                <p:spPr bwMode="auto">
                  <a:xfrm flipH="1">
                    <a:off x="157" y="208"/>
                    <a:ext cx="1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6" name="Line 43">
                    <a:extLst>
                      <a:ext uri="{FF2B5EF4-FFF2-40B4-BE49-F238E27FC236}">
                        <a16:creationId xmlns:a16="http://schemas.microsoft.com/office/drawing/2014/main" id="{D3D57198-9A64-46E1-93C2-EED9E0BF902B}"/>
                      </a:ext>
                    </a:extLst>
                  </p:cNvPr>
                  <p:cNvSpPr>
                    <a:spLocks noChangeShapeType="1"/>
                  </p:cNvSpPr>
                  <p:nvPr/>
                </p:nvSpPr>
                <p:spPr bwMode="auto">
                  <a:xfrm flipH="1">
                    <a:off x="54" y="208"/>
                    <a:ext cx="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7" name="Line 44">
                    <a:extLst>
                      <a:ext uri="{FF2B5EF4-FFF2-40B4-BE49-F238E27FC236}">
                        <a16:creationId xmlns:a16="http://schemas.microsoft.com/office/drawing/2014/main" id="{FD884F07-33D9-4D40-9069-A7292A07050B}"/>
                      </a:ext>
                    </a:extLst>
                  </p:cNvPr>
                  <p:cNvSpPr>
                    <a:spLocks noChangeShapeType="1"/>
                  </p:cNvSpPr>
                  <p:nvPr/>
                </p:nvSpPr>
                <p:spPr bwMode="auto">
                  <a:xfrm flipV="1">
                    <a:off x="165" y="127"/>
                    <a:ext cx="0" cy="2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8" name="Line 45">
                    <a:extLst>
                      <a:ext uri="{FF2B5EF4-FFF2-40B4-BE49-F238E27FC236}">
                        <a16:creationId xmlns:a16="http://schemas.microsoft.com/office/drawing/2014/main" id="{F433A2E6-94BD-4120-AB58-BF2562B24AEE}"/>
                      </a:ext>
                    </a:extLst>
                  </p:cNvPr>
                  <p:cNvSpPr>
                    <a:spLocks noChangeShapeType="1"/>
                  </p:cNvSpPr>
                  <p:nvPr/>
                </p:nvSpPr>
                <p:spPr bwMode="auto">
                  <a:xfrm flipV="1">
                    <a:off x="165" y="42"/>
                    <a:ext cx="0" cy="2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69" name="Line 46">
                    <a:extLst>
                      <a:ext uri="{FF2B5EF4-FFF2-40B4-BE49-F238E27FC236}">
                        <a16:creationId xmlns:a16="http://schemas.microsoft.com/office/drawing/2014/main" id="{35D077DF-C321-4644-81F5-1057A8D69009}"/>
                      </a:ext>
                    </a:extLst>
                  </p:cNvPr>
                  <p:cNvSpPr>
                    <a:spLocks noChangeShapeType="1"/>
                  </p:cNvSpPr>
                  <p:nvPr/>
                </p:nvSpPr>
                <p:spPr bwMode="auto">
                  <a:xfrm flipV="1">
                    <a:off x="165" y="212"/>
                    <a:ext cx="0" cy="26"/>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254" name="TextBox 253">
                  <a:extLst>
                    <a:ext uri="{FF2B5EF4-FFF2-40B4-BE49-F238E27FC236}">
                      <a16:creationId xmlns:a16="http://schemas.microsoft.com/office/drawing/2014/main" id="{0508087C-5C71-46A3-8830-33B7E30A3A5C}"/>
                    </a:ext>
                  </a:extLst>
                </p:cNvPr>
                <p:cNvSpPr txBox="1"/>
                <p:nvPr/>
              </p:nvSpPr>
              <p:spPr>
                <a:xfrm>
                  <a:off x="3713141" y="4145689"/>
                  <a:ext cx="1572598" cy="400110"/>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Virtual Machines</a:t>
                  </a:r>
                </a:p>
              </p:txBody>
            </p:sp>
          </p:grpSp>
          <p:grpSp>
            <p:nvGrpSpPr>
              <p:cNvPr id="238" name="Group 237">
                <a:extLst>
                  <a:ext uri="{FF2B5EF4-FFF2-40B4-BE49-F238E27FC236}">
                    <a16:creationId xmlns:a16="http://schemas.microsoft.com/office/drawing/2014/main" id="{CFD54C54-BD2E-47D8-AD7A-39FFBA601B30}"/>
                  </a:ext>
                </a:extLst>
              </p:cNvPr>
              <p:cNvGrpSpPr/>
              <p:nvPr/>
            </p:nvGrpSpPr>
            <p:grpSpPr>
              <a:xfrm>
                <a:off x="5339773" y="4402607"/>
                <a:ext cx="1457086" cy="400110"/>
                <a:chOff x="5851184" y="4000333"/>
                <a:chExt cx="1457086" cy="400110"/>
              </a:xfrm>
            </p:grpSpPr>
            <p:sp>
              <p:nvSpPr>
                <p:cNvPr id="239" name="TextBox 238">
                  <a:extLst>
                    <a:ext uri="{FF2B5EF4-FFF2-40B4-BE49-F238E27FC236}">
                      <a16:creationId xmlns:a16="http://schemas.microsoft.com/office/drawing/2014/main" id="{C03D3A97-4639-4EEB-94C2-55EF6033DF98}"/>
                    </a:ext>
                  </a:extLst>
                </p:cNvPr>
                <p:cNvSpPr txBox="1"/>
                <p:nvPr/>
              </p:nvSpPr>
              <p:spPr>
                <a:xfrm>
                  <a:off x="6140040" y="4000333"/>
                  <a:ext cx="1168230" cy="400110"/>
                </a:xfrm>
                <a:prstGeom prst="rect">
                  <a:avLst/>
                </a:prstGeom>
                <a:noFill/>
                <a:ln>
                  <a:noFill/>
                </a:ln>
              </p:spPr>
              <p:txBody>
                <a:bodyPr wrap="square" lIns="91440" tIns="91440" rIns="91440" bIns="9144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gradFill>
                        <a:gsLst>
                          <a:gs pos="0">
                            <a:srgbClr val="1A1A1A"/>
                          </a:gs>
                          <a:gs pos="100000">
                            <a:srgbClr val="1A1A1A"/>
                          </a:gs>
                        </a:gsLst>
                        <a:lin ang="5400000" scaled="1"/>
                      </a:gradFill>
                      <a:effectLst/>
                      <a:uLnTx/>
                      <a:uFillTx/>
                      <a:latin typeface="Segoe UI Semibold"/>
                      <a:ea typeface="+mn-ea"/>
                      <a:cs typeface="+mn-cs"/>
                    </a:rPr>
                    <a:t>Containers</a:t>
                  </a:r>
                </a:p>
              </p:txBody>
            </p:sp>
            <p:grpSp>
              <p:nvGrpSpPr>
                <p:cNvPr id="240" name="Group 239">
                  <a:extLst>
                    <a:ext uri="{FF2B5EF4-FFF2-40B4-BE49-F238E27FC236}">
                      <a16:creationId xmlns:a16="http://schemas.microsoft.com/office/drawing/2014/main" id="{BBD4304A-0FBF-433E-989D-444D30EA6F78}"/>
                    </a:ext>
                  </a:extLst>
                </p:cNvPr>
                <p:cNvGrpSpPr/>
                <p:nvPr/>
              </p:nvGrpSpPr>
              <p:grpSpPr>
                <a:xfrm>
                  <a:off x="5851184" y="4003151"/>
                  <a:ext cx="330542" cy="291657"/>
                  <a:chOff x="1936408" y="5127096"/>
                  <a:chExt cx="630725" cy="556528"/>
                </a:xfrm>
              </p:grpSpPr>
              <p:sp>
                <p:nvSpPr>
                  <p:cNvPr id="241" name="Rectangle 240">
                    <a:extLst>
                      <a:ext uri="{FF2B5EF4-FFF2-40B4-BE49-F238E27FC236}">
                        <a16:creationId xmlns:a16="http://schemas.microsoft.com/office/drawing/2014/main" id="{C4E768AF-E3C8-438F-BBAC-97BB84952512}"/>
                      </a:ext>
                    </a:extLst>
                  </p:cNvPr>
                  <p:cNvSpPr/>
                  <p:nvPr/>
                </p:nvSpPr>
                <p:spPr bwMode="auto">
                  <a:xfrm>
                    <a:off x="1936408" y="5335601"/>
                    <a:ext cx="630725" cy="348023"/>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2" name="Group 241">
                    <a:extLst>
                      <a:ext uri="{FF2B5EF4-FFF2-40B4-BE49-F238E27FC236}">
                        <a16:creationId xmlns:a16="http://schemas.microsoft.com/office/drawing/2014/main" id="{845C1A58-1479-4152-A62E-E050C34C8341}"/>
                      </a:ext>
                    </a:extLst>
                  </p:cNvPr>
                  <p:cNvGrpSpPr/>
                  <p:nvPr/>
                </p:nvGrpSpPr>
                <p:grpSpPr>
                  <a:xfrm>
                    <a:off x="2065006" y="5402036"/>
                    <a:ext cx="373529" cy="215153"/>
                    <a:chOff x="2081328" y="5432612"/>
                    <a:chExt cx="373529" cy="173317"/>
                  </a:xfrm>
                </p:grpSpPr>
                <p:cxnSp>
                  <p:nvCxnSpPr>
                    <p:cNvPr id="249" name="Straight Connector 248">
                      <a:extLst>
                        <a:ext uri="{FF2B5EF4-FFF2-40B4-BE49-F238E27FC236}">
                          <a16:creationId xmlns:a16="http://schemas.microsoft.com/office/drawing/2014/main" id="{DE1B1304-30B5-4B8D-B5D2-619204F8E5D0}"/>
                        </a:ext>
                      </a:extLst>
                    </p:cNvPr>
                    <p:cNvCxnSpPr/>
                    <p:nvPr/>
                  </p:nvCxnSpPr>
                  <p:spPr>
                    <a:xfrm>
                      <a:off x="2081328"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9C4317F2-7F16-4C24-812D-8F61D40A8AE2}"/>
                        </a:ext>
                      </a:extLst>
                    </p:cNvPr>
                    <p:cNvCxnSpPr/>
                    <p:nvPr/>
                  </p:nvCxnSpPr>
                  <p:spPr>
                    <a:xfrm>
                      <a:off x="2205838"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1" name="Straight Connector 250">
                      <a:extLst>
                        <a:ext uri="{FF2B5EF4-FFF2-40B4-BE49-F238E27FC236}">
                          <a16:creationId xmlns:a16="http://schemas.microsoft.com/office/drawing/2014/main" id="{9ECDBFC6-64D6-4976-BFF6-FA20D57807D5}"/>
                        </a:ext>
                      </a:extLst>
                    </p:cNvPr>
                    <p:cNvCxnSpPr/>
                    <p:nvPr/>
                  </p:nvCxnSpPr>
                  <p:spPr>
                    <a:xfrm>
                      <a:off x="2330348"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2" name="Straight Connector 251">
                      <a:extLst>
                        <a:ext uri="{FF2B5EF4-FFF2-40B4-BE49-F238E27FC236}">
                          <a16:creationId xmlns:a16="http://schemas.microsoft.com/office/drawing/2014/main" id="{AF875432-D5A3-44A5-97A5-79CB411EA26C}"/>
                        </a:ext>
                      </a:extLst>
                    </p:cNvPr>
                    <p:cNvCxnSpPr/>
                    <p:nvPr/>
                  </p:nvCxnSpPr>
                  <p:spPr>
                    <a:xfrm>
                      <a:off x="2454857" y="5432612"/>
                      <a:ext cx="0" cy="173317"/>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43" name="Isosceles Triangle 242">
                    <a:extLst>
                      <a:ext uri="{FF2B5EF4-FFF2-40B4-BE49-F238E27FC236}">
                        <a16:creationId xmlns:a16="http://schemas.microsoft.com/office/drawing/2014/main" id="{F8F5D12A-EBB6-4BF7-BF53-8E5BBFF44237}"/>
                      </a:ext>
                    </a:extLst>
                  </p:cNvPr>
                  <p:cNvSpPr/>
                  <p:nvPr/>
                </p:nvSpPr>
                <p:spPr bwMode="auto">
                  <a:xfrm>
                    <a:off x="2041168" y="5214261"/>
                    <a:ext cx="421206" cy="117735"/>
                  </a:xfrm>
                  <a:prstGeom prst="triangle">
                    <a:avLst>
                      <a:gd name="adj" fmla="val 51809"/>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4" name="Group 243">
                    <a:extLst>
                      <a:ext uri="{FF2B5EF4-FFF2-40B4-BE49-F238E27FC236}">
                        <a16:creationId xmlns:a16="http://schemas.microsoft.com/office/drawing/2014/main" id="{BDD20C6B-D76C-4ADB-8AA1-1A945F1840C9}"/>
                      </a:ext>
                    </a:extLst>
                  </p:cNvPr>
                  <p:cNvGrpSpPr/>
                  <p:nvPr/>
                </p:nvGrpSpPr>
                <p:grpSpPr>
                  <a:xfrm>
                    <a:off x="2203166" y="5127096"/>
                    <a:ext cx="105694" cy="128642"/>
                    <a:chOff x="899448" y="5121078"/>
                    <a:chExt cx="207816" cy="252938"/>
                  </a:xfrm>
                </p:grpSpPr>
                <p:sp>
                  <p:nvSpPr>
                    <p:cNvPr id="245" name="Freeform: Shape 244">
                      <a:extLst>
                        <a:ext uri="{FF2B5EF4-FFF2-40B4-BE49-F238E27FC236}">
                          <a16:creationId xmlns:a16="http://schemas.microsoft.com/office/drawing/2014/main" id="{9EFB6A38-E5B7-495C-881F-64CF15D271DA}"/>
                        </a:ext>
                      </a:extLst>
                    </p:cNvPr>
                    <p:cNvSpPr/>
                    <p:nvPr/>
                  </p:nvSpPr>
                  <p:spPr bwMode="auto">
                    <a:xfrm>
                      <a:off x="899448" y="5121078"/>
                      <a:ext cx="207816" cy="100212"/>
                    </a:xfrm>
                    <a:custGeom>
                      <a:avLst/>
                      <a:gdLst>
                        <a:gd name="connsiteX0" fmla="*/ 0 w 207816"/>
                        <a:gd name="connsiteY0" fmla="*/ 0 h 100212"/>
                        <a:gd name="connsiteX1" fmla="*/ 207816 w 207816"/>
                        <a:gd name="connsiteY1" fmla="*/ 0 h 100212"/>
                        <a:gd name="connsiteX2" fmla="*/ 200512 w 207816"/>
                        <a:gd name="connsiteY2" fmla="*/ 36179 h 100212"/>
                        <a:gd name="connsiteX3" fmla="*/ 103908 w 207816"/>
                        <a:gd name="connsiteY3" fmla="*/ 100212 h 100212"/>
                        <a:gd name="connsiteX4" fmla="*/ 7304 w 207816"/>
                        <a:gd name="connsiteY4" fmla="*/ 36179 h 100212"/>
                        <a:gd name="connsiteX5" fmla="*/ 0 w 207816"/>
                        <a:gd name="connsiteY5" fmla="*/ 0 h 10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16" h="100212">
                          <a:moveTo>
                            <a:pt x="0" y="0"/>
                          </a:moveTo>
                          <a:lnTo>
                            <a:pt x="207816" y="0"/>
                          </a:lnTo>
                          <a:lnTo>
                            <a:pt x="200512" y="36179"/>
                          </a:lnTo>
                          <a:cubicBezTo>
                            <a:pt x="184596" y="73808"/>
                            <a:pt x="147335" y="100212"/>
                            <a:pt x="103908" y="100212"/>
                          </a:cubicBezTo>
                          <a:cubicBezTo>
                            <a:pt x="60481" y="100212"/>
                            <a:pt x="23220" y="73808"/>
                            <a:pt x="7304" y="36179"/>
                          </a:cubicBezTo>
                          <a:lnTo>
                            <a:pt x="0" y="0"/>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46" name="Group 245">
                      <a:extLst>
                        <a:ext uri="{FF2B5EF4-FFF2-40B4-BE49-F238E27FC236}">
                          <a16:creationId xmlns:a16="http://schemas.microsoft.com/office/drawing/2014/main" id="{7427A721-30BE-410A-B353-3AF38C49D022}"/>
                        </a:ext>
                      </a:extLst>
                    </p:cNvPr>
                    <p:cNvGrpSpPr/>
                    <p:nvPr/>
                  </p:nvGrpSpPr>
                  <p:grpSpPr>
                    <a:xfrm>
                      <a:off x="939926" y="5224024"/>
                      <a:ext cx="90345" cy="149992"/>
                      <a:chOff x="962786" y="5658364"/>
                      <a:chExt cx="90345" cy="149992"/>
                    </a:xfrm>
                  </p:grpSpPr>
                  <p:sp>
                    <p:nvSpPr>
                      <p:cNvPr id="247" name="Freeform: Shape 246">
                        <a:extLst>
                          <a:ext uri="{FF2B5EF4-FFF2-40B4-BE49-F238E27FC236}">
                            <a16:creationId xmlns:a16="http://schemas.microsoft.com/office/drawing/2014/main" id="{AF5BDDA4-2B0E-4BB3-9052-E2758F4C9C49}"/>
                          </a:ext>
                        </a:extLst>
                      </p:cNvPr>
                      <p:cNvSpPr/>
                      <p:nvPr/>
                    </p:nvSpPr>
                    <p:spPr bwMode="auto">
                      <a:xfrm>
                        <a:off x="962786" y="5718463"/>
                        <a:ext cx="90345" cy="89893"/>
                      </a:xfrm>
                      <a:custGeom>
                        <a:avLst/>
                        <a:gdLst>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 name="connsiteX6" fmla="*/ 112007 w 207070"/>
                          <a:gd name="connsiteY6" fmla="*/ 105818 h 206030"/>
                          <a:gd name="connsiteX7" fmla="*/ 112007 w 207070"/>
                          <a:gd name="connsiteY7" fmla="*/ 0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7" fmla="*/ 203447 w 207070"/>
                          <a:gd name="connsiteY7" fmla="*/ 197258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70" h="206030">
                            <a:moveTo>
                              <a:pt x="112007" y="0"/>
                            </a:moveTo>
                            <a:lnTo>
                              <a:pt x="143608" y="6380"/>
                            </a:lnTo>
                            <a:cubicBezTo>
                              <a:pt x="180902" y="22154"/>
                              <a:pt x="207070" y="59082"/>
                              <a:pt x="207070" y="102122"/>
                            </a:cubicBezTo>
                            <a:cubicBezTo>
                              <a:pt x="207070" y="159509"/>
                              <a:pt x="160549" y="206030"/>
                              <a:pt x="103162" y="206030"/>
                            </a:cubicBezTo>
                            <a:cubicBezTo>
                              <a:pt x="60122" y="206030"/>
                              <a:pt x="23194" y="179862"/>
                              <a:pt x="7420" y="142568"/>
                            </a:cubicBezTo>
                            <a:lnTo>
                              <a:pt x="0" y="10581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48" name="Straight Connector 247">
                        <a:extLst>
                          <a:ext uri="{FF2B5EF4-FFF2-40B4-BE49-F238E27FC236}">
                            <a16:creationId xmlns:a16="http://schemas.microsoft.com/office/drawing/2014/main" id="{E76E6F49-52C4-4453-961F-AD6E36D6242A}"/>
                          </a:ext>
                        </a:extLst>
                      </p:cNvPr>
                      <p:cNvCxnSpPr/>
                      <p:nvPr/>
                    </p:nvCxnSpPr>
                    <p:spPr>
                      <a:xfrm flipV="1">
                        <a:off x="1026751" y="5658364"/>
                        <a:ext cx="0" cy="6643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grpSp>
        </p:grpSp>
      </p:grpSp>
      <p:cxnSp>
        <p:nvCxnSpPr>
          <p:cNvPr id="3" name="Straight Connector 2">
            <a:extLst>
              <a:ext uri="{FF2B5EF4-FFF2-40B4-BE49-F238E27FC236}">
                <a16:creationId xmlns:a16="http://schemas.microsoft.com/office/drawing/2014/main" id="{E648C2CB-0405-4C20-9646-C95F46A1C5A9}"/>
              </a:ext>
            </a:extLst>
          </p:cNvPr>
          <p:cNvCxnSpPr>
            <a:cxnSpLocks/>
          </p:cNvCxnSpPr>
          <p:nvPr/>
        </p:nvCxnSpPr>
        <p:spPr>
          <a:xfrm>
            <a:off x="10112516" y="2388257"/>
            <a:ext cx="0" cy="1176186"/>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F4AAA8F-54FB-4F43-B012-D6B11251F430}"/>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16676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DE61F-3C31-452B-9521-9127529767E1}"/>
              </a:ext>
            </a:extLst>
          </p:cNvPr>
          <p:cNvSpPr>
            <a:spLocks noGrp="1"/>
          </p:cNvSpPr>
          <p:nvPr>
            <p:ph type="title"/>
          </p:nvPr>
        </p:nvSpPr>
        <p:spPr>
          <a:xfrm>
            <a:off x="584200" y="409397"/>
            <a:ext cx="11275558" cy="492443"/>
          </a:xfrm>
        </p:spPr>
        <p:txBody>
          <a:bodyPr/>
          <a:lstStyle/>
          <a:p>
            <a:r>
              <a:rPr lang="en-US"/>
              <a:t>Common Azure migration/modernization projects</a:t>
            </a:r>
          </a:p>
        </p:txBody>
      </p:sp>
      <p:sp>
        <p:nvSpPr>
          <p:cNvPr id="3" name="TextBox 2">
            <a:extLst>
              <a:ext uri="{FF2B5EF4-FFF2-40B4-BE49-F238E27FC236}">
                <a16:creationId xmlns:a16="http://schemas.microsoft.com/office/drawing/2014/main" id="{6A3AF0F2-1EEB-479D-9324-B32AC8FDE620}"/>
              </a:ext>
            </a:extLst>
          </p:cNvPr>
          <p:cNvSpPr txBox="1"/>
          <p:nvPr/>
        </p:nvSpPr>
        <p:spPr>
          <a:xfrm>
            <a:off x="5886137" y="4031540"/>
            <a:ext cx="46166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AP</a:t>
            </a:r>
          </a:p>
        </p:txBody>
      </p:sp>
      <p:sp>
        <p:nvSpPr>
          <p:cNvPr id="4" name="TextBox 3">
            <a:extLst>
              <a:ext uri="{FF2B5EF4-FFF2-40B4-BE49-F238E27FC236}">
                <a16:creationId xmlns:a16="http://schemas.microsoft.com/office/drawing/2014/main" id="{91C91F66-9225-4666-87F1-9B92AA2F4D61}"/>
              </a:ext>
            </a:extLst>
          </p:cNvPr>
          <p:cNvSpPr txBox="1"/>
          <p:nvPr/>
        </p:nvSpPr>
        <p:spPr>
          <a:xfrm>
            <a:off x="584200" y="1339146"/>
            <a:ext cx="3646626" cy="52322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Windows Serve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ile servers, containers, AD/DNS/DHCP</a:t>
            </a:r>
          </a:p>
        </p:txBody>
      </p:sp>
      <p:sp>
        <p:nvSpPr>
          <p:cNvPr id="5" name="TextBox 4">
            <a:extLst>
              <a:ext uri="{FF2B5EF4-FFF2-40B4-BE49-F238E27FC236}">
                <a16:creationId xmlns:a16="http://schemas.microsoft.com/office/drawing/2014/main" id="{4F6542F2-0509-43CB-AA54-6779702FFABE}"/>
              </a:ext>
            </a:extLst>
          </p:cNvPr>
          <p:cNvSpPr txBox="1"/>
          <p:nvPr/>
        </p:nvSpPr>
        <p:spPr>
          <a:xfrm>
            <a:off x="457042" y="3955301"/>
            <a:ext cx="3631956" cy="1046440"/>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Linux/ Open source databases  </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a:gradFill>
                  <a:gsLst>
                    <a:gs pos="2917">
                      <a:srgbClr val="1A1A1A"/>
                    </a:gs>
                    <a:gs pos="30000">
                      <a:srgbClr val="1A1A1A"/>
                    </a:gs>
                  </a:gsLst>
                  <a:lin ang="5400000" scaled="0"/>
                </a:gradFill>
                <a:latin typeface="Segoe UI"/>
              </a:rPr>
              <a:t>(e.g., RedHat/SUSE, Hadoop, MySQL, </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a:gradFill>
                  <a:gsLst>
                    <a:gs pos="2917">
                      <a:srgbClr val="1A1A1A"/>
                    </a:gs>
                    <a:gs pos="30000">
                      <a:srgbClr val="1A1A1A"/>
                    </a:gs>
                  </a:gsLst>
                  <a:lin ang="5400000" scaled="0"/>
                </a:gradFill>
                <a:latin typeface="Segoe UI"/>
              </a:rPr>
              <a:t>PostgreSQL, NoSQ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  </a:t>
            </a:r>
          </a:p>
        </p:txBody>
      </p:sp>
      <p:sp>
        <p:nvSpPr>
          <p:cNvPr id="7" name="TextBox 6">
            <a:extLst>
              <a:ext uri="{FF2B5EF4-FFF2-40B4-BE49-F238E27FC236}">
                <a16:creationId xmlns:a16="http://schemas.microsoft.com/office/drawing/2014/main" id="{7654C7E5-3E40-4050-B8E4-D8BC50366E10}"/>
              </a:ext>
            </a:extLst>
          </p:cNvPr>
          <p:cNvSpPr txBox="1"/>
          <p:nvPr/>
        </p:nvSpPr>
        <p:spPr>
          <a:xfrm>
            <a:off x="8402699" y="1383180"/>
            <a:ext cx="3108960" cy="52322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ASP.NET/ PHP/ Java app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ustomer facing &amp; internal </a:t>
            </a:r>
            <a:r>
              <a:rPr kumimoji="0" lang="en-US" sz="14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LoB</a:t>
            </a: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8" name="TextBox 7">
            <a:extLst>
              <a:ext uri="{FF2B5EF4-FFF2-40B4-BE49-F238E27FC236}">
                <a16:creationId xmlns:a16="http://schemas.microsoft.com/office/drawing/2014/main" id="{E6AB5013-1034-43C9-AECF-B4B92A144CCB}"/>
              </a:ext>
            </a:extLst>
          </p:cNvPr>
          <p:cNvSpPr txBox="1"/>
          <p:nvPr/>
        </p:nvSpPr>
        <p:spPr>
          <a:xfrm>
            <a:off x="8572299" y="3955301"/>
            <a:ext cx="2559163" cy="523220"/>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pecialized workload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g., HPC, NetApp</a:t>
            </a:r>
          </a:p>
        </p:txBody>
      </p:sp>
      <p:sp>
        <p:nvSpPr>
          <p:cNvPr id="9" name="TextBox 8">
            <a:extLst>
              <a:ext uri="{FF2B5EF4-FFF2-40B4-BE49-F238E27FC236}">
                <a16:creationId xmlns:a16="http://schemas.microsoft.com/office/drawing/2014/main" id="{9D22539E-AF5D-4DCC-A22A-1944A9D45B36}"/>
              </a:ext>
            </a:extLst>
          </p:cNvPr>
          <p:cNvSpPr txBox="1"/>
          <p:nvPr/>
        </p:nvSpPr>
        <p:spPr>
          <a:xfrm>
            <a:off x="4393598" y="1340972"/>
            <a:ext cx="3552323" cy="52322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rPr>
              <a:t>SQL Serv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lication databases, Analytics (BI, DW)  </a:t>
            </a:r>
          </a:p>
        </p:txBody>
      </p:sp>
      <p:cxnSp>
        <p:nvCxnSpPr>
          <p:cNvPr id="10" name="Straight Connector 9">
            <a:extLst>
              <a:ext uri="{FF2B5EF4-FFF2-40B4-BE49-F238E27FC236}">
                <a16:creationId xmlns:a16="http://schemas.microsoft.com/office/drawing/2014/main" id="{EC268398-1812-4E30-83D1-712944D0142F}"/>
              </a:ext>
            </a:extLst>
          </p:cNvPr>
          <p:cNvCxnSpPr>
            <a:cxnSpLocks/>
          </p:cNvCxnSpPr>
          <p:nvPr/>
        </p:nvCxnSpPr>
        <p:spPr>
          <a:xfrm>
            <a:off x="4298860" y="1417972"/>
            <a:ext cx="0" cy="4830428"/>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 name="Straight Connector 10">
            <a:extLst>
              <a:ext uri="{FF2B5EF4-FFF2-40B4-BE49-F238E27FC236}">
                <a16:creationId xmlns:a16="http://schemas.microsoft.com/office/drawing/2014/main" id="{A25C26B8-E333-4567-BC08-991B7DC010AD}"/>
              </a:ext>
            </a:extLst>
          </p:cNvPr>
          <p:cNvCxnSpPr>
            <a:cxnSpLocks/>
          </p:cNvCxnSpPr>
          <p:nvPr/>
        </p:nvCxnSpPr>
        <p:spPr>
          <a:xfrm>
            <a:off x="7893139" y="1417972"/>
            <a:ext cx="0" cy="4830428"/>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 name="Straight Connector 11">
            <a:extLst>
              <a:ext uri="{FF2B5EF4-FFF2-40B4-BE49-F238E27FC236}">
                <a16:creationId xmlns:a16="http://schemas.microsoft.com/office/drawing/2014/main" id="{BABB0A46-7C1C-4169-A6BA-DD533FB21695}"/>
              </a:ext>
            </a:extLst>
          </p:cNvPr>
          <p:cNvCxnSpPr>
            <a:cxnSpLocks/>
          </p:cNvCxnSpPr>
          <p:nvPr/>
        </p:nvCxnSpPr>
        <p:spPr>
          <a:xfrm flipH="1">
            <a:off x="584200" y="3800475"/>
            <a:ext cx="10560051" cy="0"/>
          </a:xfrm>
          <a:prstGeom prst="line">
            <a:avLst/>
          </a:prstGeom>
          <a:noFill/>
          <a:ln w="1270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pic>
        <p:nvPicPr>
          <p:cNvPr id="23" name="Picture 22">
            <a:extLst>
              <a:ext uri="{FF2B5EF4-FFF2-40B4-BE49-F238E27FC236}">
                <a16:creationId xmlns:a16="http://schemas.microsoft.com/office/drawing/2014/main" id="{2CD2233E-8B89-41FE-ACE4-ECF4AF5342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1928" y="2277235"/>
            <a:ext cx="780290" cy="780290"/>
          </a:xfrm>
          <a:prstGeom prst="rect">
            <a:avLst/>
          </a:prstGeom>
        </p:spPr>
      </p:pic>
      <p:grpSp>
        <p:nvGrpSpPr>
          <p:cNvPr id="30" name="Group 29">
            <a:extLst>
              <a:ext uri="{FF2B5EF4-FFF2-40B4-BE49-F238E27FC236}">
                <a16:creationId xmlns:a16="http://schemas.microsoft.com/office/drawing/2014/main" id="{396004B3-A9CF-4692-A3E7-9ABB419C66EA}"/>
              </a:ext>
            </a:extLst>
          </p:cNvPr>
          <p:cNvGrpSpPr/>
          <p:nvPr/>
        </p:nvGrpSpPr>
        <p:grpSpPr>
          <a:xfrm>
            <a:off x="1915457" y="2196438"/>
            <a:ext cx="787667" cy="1041620"/>
            <a:chOff x="3229244" y="204788"/>
            <a:chExt cx="2528887" cy="3344228"/>
          </a:xfrm>
          <a:solidFill>
            <a:schemeClr val="accent1"/>
          </a:solidFill>
        </p:grpSpPr>
        <p:sp>
          <p:nvSpPr>
            <p:cNvPr id="27" name="Freeform: Shape 26">
              <a:extLst>
                <a:ext uri="{FF2B5EF4-FFF2-40B4-BE49-F238E27FC236}">
                  <a16:creationId xmlns:a16="http://schemas.microsoft.com/office/drawing/2014/main" id="{90DC60F8-59AC-44B8-A700-F571D2B3D4C8}"/>
                </a:ext>
              </a:extLst>
            </p:cNvPr>
            <p:cNvSpPr/>
            <p:nvPr/>
          </p:nvSpPr>
          <p:spPr>
            <a:xfrm>
              <a:off x="4453206" y="1948816"/>
              <a:ext cx="1304925" cy="1600200"/>
            </a:xfrm>
            <a:custGeom>
              <a:avLst/>
              <a:gdLst>
                <a:gd name="connsiteX0" fmla="*/ 652463 w 1304925"/>
                <a:gd name="connsiteY0" fmla="*/ 155257 h 1600200"/>
                <a:gd name="connsiteX1" fmla="*/ 0 w 1304925"/>
                <a:gd name="connsiteY1" fmla="*/ 0 h 1600200"/>
                <a:gd name="connsiteX2" fmla="*/ 0 w 1304925"/>
                <a:gd name="connsiteY2" fmla="*/ 1313498 h 1600200"/>
                <a:gd name="connsiteX3" fmla="*/ 652463 w 1304925"/>
                <a:gd name="connsiteY3" fmla="*/ 1606867 h 1600200"/>
                <a:gd name="connsiteX4" fmla="*/ 1304925 w 1304925"/>
                <a:gd name="connsiteY4" fmla="*/ 1313498 h 1600200"/>
                <a:gd name="connsiteX5" fmla="*/ 1304925 w 1304925"/>
                <a:gd name="connsiteY5" fmla="*/ 953 h 1600200"/>
                <a:gd name="connsiteX6" fmla="*/ 652463 w 1304925"/>
                <a:gd name="connsiteY6" fmla="*/ 155257 h 1600200"/>
                <a:gd name="connsiteX7" fmla="*/ 652463 w 1304925"/>
                <a:gd name="connsiteY7" fmla="*/ 155257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4925" h="1600200">
                  <a:moveTo>
                    <a:pt x="652463" y="155257"/>
                  </a:moveTo>
                  <a:cubicBezTo>
                    <a:pt x="400050" y="155257"/>
                    <a:pt x="139065" y="106680"/>
                    <a:pt x="0" y="0"/>
                  </a:cubicBezTo>
                  <a:lnTo>
                    <a:pt x="0" y="1313498"/>
                  </a:lnTo>
                  <a:cubicBezTo>
                    <a:pt x="0" y="1476375"/>
                    <a:pt x="293370" y="1606867"/>
                    <a:pt x="652463" y="1606867"/>
                  </a:cubicBezTo>
                  <a:cubicBezTo>
                    <a:pt x="1011555" y="1606867"/>
                    <a:pt x="1304925" y="1476375"/>
                    <a:pt x="1304925" y="1313498"/>
                  </a:cubicBezTo>
                  <a:lnTo>
                    <a:pt x="1304925" y="953"/>
                  </a:lnTo>
                  <a:cubicBezTo>
                    <a:pt x="1165860" y="98107"/>
                    <a:pt x="904875" y="155257"/>
                    <a:pt x="652463" y="155257"/>
                  </a:cubicBezTo>
                  <a:lnTo>
                    <a:pt x="652463" y="15525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18B14FB1-4379-40AC-8B98-1F14BAAE19D0}"/>
                </a:ext>
              </a:extLst>
            </p:cNvPr>
            <p:cNvSpPr/>
            <p:nvPr/>
          </p:nvSpPr>
          <p:spPr>
            <a:xfrm>
              <a:off x="4453206" y="1533526"/>
              <a:ext cx="1304925" cy="466725"/>
            </a:xfrm>
            <a:custGeom>
              <a:avLst/>
              <a:gdLst>
                <a:gd name="connsiteX0" fmla="*/ 1304925 w 1304925"/>
                <a:gd name="connsiteY0" fmla="*/ 236220 h 466725"/>
                <a:gd name="connsiteX1" fmla="*/ 652463 w 1304925"/>
                <a:gd name="connsiteY1" fmla="*/ 0 h 466725"/>
                <a:gd name="connsiteX2" fmla="*/ 0 w 1304925"/>
                <a:gd name="connsiteY2" fmla="*/ 236220 h 466725"/>
                <a:gd name="connsiteX3" fmla="*/ 652463 w 1304925"/>
                <a:gd name="connsiteY3" fmla="*/ 472440 h 466725"/>
                <a:gd name="connsiteX4" fmla="*/ 1304925 w 1304925"/>
                <a:gd name="connsiteY4" fmla="*/ 236220 h 466725"/>
                <a:gd name="connsiteX5" fmla="*/ 1304925 w 1304925"/>
                <a:gd name="connsiteY5" fmla="*/ 23622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925" h="466725">
                  <a:moveTo>
                    <a:pt x="1304925" y="236220"/>
                  </a:moveTo>
                  <a:cubicBezTo>
                    <a:pt x="1304925" y="105728"/>
                    <a:pt x="1011555" y="0"/>
                    <a:pt x="652463" y="0"/>
                  </a:cubicBezTo>
                  <a:cubicBezTo>
                    <a:pt x="293370" y="0"/>
                    <a:pt x="0" y="105728"/>
                    <a:pt x="0" y="236220"/>
                  </a:cubicBezTo>
                  <a:cubicBezTo>
                    <a:pt x="0" y="366713"/>
                    <a:pt x="293370" y="472440"/>
                    <a:pt x="652463" y="472440"/>
                  </a:cubicBezTo>
                  <a:cubicBezTo>
                    <a:pt x="1011555" y="472440"/>
                    <a:pt x="1304925" y="366713"/>
                    <a:pt x="1304925" y="236220"/>
                  </a:cubicBezTo>
                  <a:lnTo>
                    <a:pt x="1304925" y="23622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B8CD876A-9990-424E-BED3-981B85D8D302}"/>
                </a:ext>
              </a:extLst>
            </p:cNvPr>
            <p:cNvSpPr/>
            <p:nvPr/>
          </p:nvSpPr>
          <p:spPr>
            <a:xfrm>
              <a:off x="3229244" y="204788"/>
              <a:ext cx="1628775" cy="3343275"/>
            </a:xfrm>
            <a:custGeom>
              <a:avLst/>
              <a:gdLst>
                <a:gd name="connsiteX0" fmla="*/ 1060133 w 1628775"/>
                <a:gd name="connsiteY0" fmla="*/ 2535555 h 3343275"/>
                <a:gd name="connsiteX1" fmla="*/ 1060133 w 1628775"/>
                <a:gd name="connsiteY1" fmla="*/ 1736407 h 3343275"/>
                <a:gd name="connsiteX2" fmla="*/ 1060133 w 1628775"/>
                <a:gd name="connsiteY2" fmla="*/ 1589723 h 3343275"/>
                <a:gd name="connsiteX3" fmla="*/ 1060133 w 1628775"/>
                <a:gd name="connsiteY3" fmla="*/ 1564957 h 3343275"/>
                <a:gd name="connsiteX4" fmla="*/ 1630680 w 1628775"/>
                <a:gd name="connsiteY4" fmla="*/ 1182053 h 3343275"/>
                <a:gd name="connsiteX5" fmla="*/ 1630680 w 1628775"/>
                <a:gd name="connsiteY5" fmla="*/ 162878 h 3343275"/>
                <a:gd name="connsiteX6" fmla="*/ 1467803 w 1628775"/>
                <a:gd name="connsiteY6" fmla="*/ 0 h 3343275"/>
                <a:gd name="connsiteX7" fmla="*/ 162878 w 1628775"/>
                <a:gd name="connsiteY7" fmla="*/ 0 h 3343275"/>
                <a:gd name="connsiteX8" fmla="*/ 0 w 1628775"/>
                <a:gd name="connsiteY8" fmla="*/ 162878 h 3343275"/>
                <a:gd name="connsiteX9" fmla="*/ 0 w 1628775"/>
                <a:gd name="connsiteY9" fmla="*/ 3343275 h 3343275"/>
                <a:gd name="connsiteX10" fmla="*/ 1240155 w 1628775"/>
                <a:gd name="connsiteY10" fmla="*/ 3343275 h 3343275"/>
                <a:gd name="connsiteX11" fmla="*/ 1061085 w 1628775"/>
                <a:gd name="connsiteY11" fmla="*/ 3049905 h 3343275"/>
                <a:gd name="connsiteX12" fmla="*/ 1061085 w 1628775"/>
                <a:gd name="connsiteY12" fmla="*/ 3017520 h 3343275"/>
                <a:gd name="connsiteX13" fmla="*/ 245745 w 1628775"/>
                <a:gd name="connsiteY13" fmla="*/ 3017520 h 3343275"/>
                <a:gd name="connsiteX14" fmla="*/ 245745 w 1628775"/>
                <a:gd name="connsiteY14" fmla="*/ 2854643 h 3343275"/>
                <a:gd name="connsiteX15" fmla="*/ 1061085 w 1628775"/>
                <a:gd name="connsiteY15" fmla="*/ 2854643 h 3343275"/>
                <a:gd name="connsiteX16" fmla="*/ 1061085 w 1628775"/>
                <a:gd name="connsiteY16" fmla="*/ 2691765 h 3343275"/>
                <a:gd name="connsiteX17" fmla="*/ 245745 w 1628775"/>
                <a:gd name="connsiteY17" fmla="*/ 2691765 h 3343275"/>
                <a:gd name="connsiteX18" fmla="*/ 245745 w 1628775"/>
                <a:gd name="connsiteY18" fmla="*/ 2528888 h 3343275"/>
                <a:gd name="connsiteX19" fmla="*/ 1061085 w 1628775"/>
                <a:gd name="connsiteY19" fmla="*/ 2528888 h 3343275"/>
                <a:gd name="connsiteX20" fmla="*/ 1061085 w 1628775"/>
                <a:gd name="connsiteY20" fmla="*/ 2535555 h 3343275"/>
                <a:gd name="connsiteX21" fmla="*/ 244793 w 1628775"/>
                <a:gd name="connsiteY21" fmla="*/ 497205 h 3343275"/>
                <a:gd name="connsiteX22" fmla="*/ 1386840 w 1628775"/>
                <a:gd name="connsiteY22" fmla="*/ 497205 h 3343275"/>
                <a:gd name="connsiteX23" fmla="*/ 1386840 w 1628775"/>
                <a:gd name="connsiteY23" fmla="*/ 660083 h 3343275"/>
                <a:gd name="connsiteX24" fmla="*/ 244793 w 1628775"/>
                <a:gd name="connsiteY24" fmla="*/ 660083 h 3343275"/>
                <a:gd name="connsiteX25" fmla="*/ 244793 w 1628775"/>
                <a:gd name="connsiteY25" fmla="*/ 497205 h 33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28775" h="3343275">
                  <a:moveTo>
                    <a:pt x="1060133" y="2535555"/>
                  </a:moveTo>
                  <a:lnTo>
                    <a:pt x="1060133" y="1736407"/>
                  </a:lnTo>
                  <a:lnTo>
                    <a:pt x="1060133" y="1589723"/>
                  </a:lnTo>
                  <a:lnTo>
                    <a:pt x="1060133" y="1564957"/>
                  </a:lnTo>
                  <a:cubicBezTo>
                    <a:pt x="1060133" y="1344930"/>
                    <a:pt x="1321118" y="1222057"/>
                    <a:pt x="1630680" y="1182053"/>
                  </a:cubicBezTo>
                  <a:lnTo>
                    <a:pt x="1630680" y="162878"/>
                  </a:lnTo>
                  <a:cubicBezTo>
                    <a:pt x="1630680" y="73342"/>
                    <a:pt x="1557338" y="0"/>
                    <a:pt x="1467803" y="0"/>
                  </a:cubicBezTo>
                  <a:lnTo>
                    <a:pt x="162878" y="0"/>
                  </a:lnTo>
                  <a:cubicBezTo>
                    <a:pt x="73343" y="0"/>
                    <a:pt x="0" y="73342"/>
                    <a:pt x="0" y="162878"/>
                  </a:cubicBezTo>
                  <a:lnTo>
                    <a:pt x="0" y="3343275"/>
                  </a:lnTo>
                  <a:lnTo>
                    <a:pt x="1240155" y="3343275"/>
                  </a:lnTo>
                  <a:cubicBezTo>
                    <a:pt x="1125855" y="3261360"/>
                    <a:pt x="1061085" y="3164205"/>
                    <a:pt x="1061085" y="3049905"/>
                  </a:cubicBezTo>
                  <a:lnTo>
                    <a:pt x="1061085" y="3017520"/>
                  </a:lnTo>
                  <a:lnTo>
                    <a:pt x="245745" y="3017520"/>
                  </a:lnTo>
                  <a:lnTo>
                    <a:pt x="245745" y="2854643"/>
                  </a:lnTo>
                  <a:lnTo>
                    <a:pt x="1061085" y="2854643"/>
                  </a:lnTo>
                  <a:lnTo>
                    <a:pt x="1061085" y="2691765"/>
                  </a:lnTo>
                  <a:lnTo>
                    <a:pt x="245745" y="2691765"/>
                  </a:lnTo>
                  <a:lnTo>
                    <a:pt x="245745" y="2528888"/>
                  </a:lnTo>
                  <a:lnTo>
                    <a:pt x="1061085" y="2528888"/>
                  </a:lnTo>
                  <a:lnTo>
                    <a:pt x="1061085" y="2535555"/>
                  </a:lnTo>
                  <a:close/>
                  <a:moveTo>
                    <a:pt x="244793" y="497205"/>
                  </a:moveTo>
                  <a:lnTo>
                    <a:pt x="1386840" y="497205"/>
                  </a:lnTo>
                  <a:lnTo>
                    <a:pt x="1386840" y="660083"/>
                  </a:lnTo>
                  <a:lnTo>
                    <a:pt x="244793" y="660083"/>
                  </a:lnTo>
                  <a:lnTo>
                    <a:pt x="244793" y="4972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pic>
        <p:nvPicPr>
          <p:cNvPr id="32" name="Picture 31">
            <a:extLst>
              <a:ext uri="{FF2B5EF4-FFF2-40B4-BE49-F238E27FC236}">
                <a16:creationId xmlns:a16="http://schemas.microsoft.com/office/drawing/2014/main" id="{F6CEA27A-417C-4539-B861-9D795F47E9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0206" y="4955492"/>
            <a:ext cx="1083546" cy="609495"/>
          </a:xfrm>
          <a:prstGeom prst="rect">
            <a:avLst/>
          </a:prstGeom>
        </p:spPr>
      </p:pic>
      <p:pic>
        <p:nvPicPr>
          <p:cNvPr id="34" name="Picture 33">
            <a:extLst>
              <a:ext uri="{FF2B5EF4-FFF2-40B4-BE49-F238E27FC236}">
                <a16:creationId xmlns:a16="http://schemas.microsoft.com/office/drawing/2014/main" id="{8B56D73D-B22E-4AFA-B04D-D5297566076C}"/>
              </a:ext>
            </a:extLst>
          </p:cNvPr>
          <p:cNvPicPr>
            <a:picLocks noChangeAspect="1"/>
          </p:cNvPicPr>
          <p:nvPr/>
        </p:nvPicPr>
        <p:blipFill>
          <a:blip r:embed="rId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660871" y="4899247"/>
            <a:ext cx="1069592" cy="855674"/>
          </a:xfrm>
          <a:prstGeom prst="rect">
            <a:avLst/>
          </a:prstGeom>
        </p:spPr>
      </p:pic>
      <p:sp>
        <p:nvSpPr>
          <p:cNvPr id="44" name="Picture 32">
            <a:extLst>
              <a:ext uri="{FF2B5EF4-FFF2-40B4-BE49-F238E27FC236}">
                <a16:creationId xmlns:a16="http://schemas.microsoft.com/office/drawing/2014/main" id="{5F8AC8E9-A1DE-4DDB-8E13-13D77EE1414B}"/>
              </a:ext>
            </a:extLst>
          </p:cNvPr>
          <p:cNvSpPr/>
          <p:nvPr/>
        </p:nvSpPr>
        <p:spPr>
          <a:xfrm>
            <a:off x="9084297" y="2160202"/>
            <a:ext cx="1184562" cy="1071650"/>
          </a:xfrm>
          <a:custGeom>
            <a:avLst/>
            <a:gdLst>
              <a:gd name="connsiteX0" fmla="*/ 637836 w 1023095"/>
              <a:gd name="connsiteY0" fmla="*/ 660892 h 925573"/>
              <a:gd name="connsiteX1" fmla="*/ 519541 w 1023095"/>
              <a:gd name="connsiteY1" fmla="*/ 701488 h 925573"/>
              <a:gd name="connsiteX2" fmla="*/ 394851 w 1023095"/>
              <a:gd name="connsiteY2" fmla="*/ 656021 h 925573"/>
              <a:gd name="connsiteX3" fmla="*/ 407640 w 1023095"/>
              <a:gd name="connsiteY3" fmla="*/ 566711 h 925573"/>
              <a:gd name="connsiteX4" fmla="*/ 436414 w 1023095"/>
              <a:gd name="connsiteY4" fmla="*/ 561839 h 925573"/>
              <a:gd name="connsiteX5" fmla="*/ 453999 w 1023095"/>
              <a:gd name="connsiteY5" fmla="*/ 574830 h 925573"/>
              <a:gd name="connsiteX6" fmla="*/ 509949 w 1023095"/>
              <a:gd name="connsiteY6" fmla="*/ 612178 h 925573"/>
              <a:gd name="connsiteX7" fmla="*/ 517942 w 1023095"/>
              <a:gd name="connsiteY7" fmla="*/ 639783 h 925573"/>
              <a:gd name="connsiteX8" fmla="*/ 572294 w 1023095"/>
              <a:gd name="connsiteY8" fmla="*/ 646278 h 925573"/>
              <a:gd name="connsiteX9" fmla="*/ 580287 w 1023095"/>
              <a:gd name="connsiteY9" fmla="*/ 636535 h 925573"/>
              <a:gd name="connsiteX10" fmla="*/ 655420 w 1023095"/>
              <a:gd name="connsiteY10" fmla="*/ 644654 h 925573"/>
              <a:gd name="connsiteX11" fmla="*/ 637836 w 1023095"/>
              <a:gd name="connsiteY11" fmla="*/ 660892 h 925573"/>
              <a:gd name="connsiteX12" fmla="*/ 359682 w 1023095"/>
              <a:gd name="connsiteY12" fmla="*/ 391339 h 925573"/>
              <a:gd name="connsiteX13" fmla="*/ 367675 w 1023095"/>
              <a:gd name="connsiteY13" fmla="*/ 470906 h 925573"/>
              <a:gd name="connsiteX14" fmla="*/ 367675 w 1023095"/>
              <a:gd name="connsiteY14" fmla="*/ 542354 h 925573"/>
              <a:gd name="connsiteX15" fmla="*/ 372471 w 1023095"/>
              <a:gd name="connsiteY15" fmla="*/ 547225 h 925573"/>
              <a:gd name="connsiteX16" fmla="*/ 361281 w 1023095"/>
              <a:gd name="connsiteY16" fmla="*/ 615425 h 925573"/>
              <a:gd name="connsiteX17" fmla="*/ 359682 w 1023095"/>
              <a:gd name="connsiteY17" fmla="*/ 391339 h 925573"/>
              <a:gd name="connsiteX18" fmla="*/ 401245 w 1023095"/>
              <a:gd name="connsiteY18" fmla="*/ 347496 h 925573"/>
              <a:gd name="connsiteX19" fmla="*/ 433217 w 1023095"/>
              <a:gd name="connsiteY19" fmla="*/ 326387 h 925573"/>
              <a:gd name="connsiteX20" fmla="*/ 485970 w 1023095"/>
              <a:gd name="connsiteY20" fmla="*/ 392963 h 925573"/>
              <a:gd name="connsiteX21" fmla="*/ 431618 w 1023095"/>
              <a:gd name="connsiteY21" fmla="*/ 440053 h 925573"/>
              <a:gd name="connsiteX22" fmla="*/ 425224 w 1023095"/>
              <a:gd name="connsiteY22" fmla="*/ 448173 h 925573"/>
              <a:gd name="connsiteX23" fmla="*/ 393252 w 1023095"/>
              <a:gd name="connsiteY23" fmla="*/ 449796 h 925573"/>
              <a:gd name="connsiteX24" fmla="*/ 378865 w 1023095"/>
              <a:gd name="connsiteY24" fmla="*/ 363734 h 925573"/>
              <a:gd name="connsiteX25" fmla="*/ 401245 w 1023095"/>
              <a:gd name="connsiteY25" fmla="*/ 347496 h 925573"/>
              <a:gd name="connsiteX26" fmla="*/ 645829 w 1023095"/>
              <a:gd name="connsiteY26" fmla="*/ 352368 h 925573"/>
              <a:gd name="connsiteX27" fmla="*/ 516343 w 1023095"/>
              <a:gd name="connsiteY27" fmla="*/ 376725 h 925573"/>
              <a:gd name="connsiteX28" fmla="*/ 461991 w 1023095"/>
              <a:gd name="connsiteY28" fmla="*/ 316644 h 925573"/>
              <a:gd name="connsiteX29" fmla="*/ 522738 w 1023095"/>
              <a:gd name="connsiteY29" fmla="*/ 306901 h 925573"/>
              <a:gd name="connsiteX30" fmla="*/ 645829 w 1023095"/>
              <a:gd name="connsiteY30" fmla="*/ 352368 h 925573"/>
              <a:gd name="connsiteX31" fmla="*/ 585083 w 1023095"/>
              <a:gd name="connsiteY31" fmla="*/ 608930 h 925573"/>
              <a:gd name="connsiteX32" fmla="*/ 578688 w 1023095"/>
              <a:gd name="connsiteY32" fmla="*/ 592692 h 925573"/>
              <a:gd name="connsiteX33" fmla="*/ 527534 w 1023095"/>
              <a:gd name="connsiteY33" fmla="*/ 582949 h 925573"/>
              <a:gd name="connsiteX34" fmla="*/ 474780 w 1023095"/>
              <a:gd name="connsiteY34" fmla="*/ 547225 h 925573"/>
              <a:gd name="connsiteX35" fmla="*/ 463590 w 1023095"/>
              <a:gd name="connsiteY35" fmla="*/ 537482 h 925573"/>
              <a:gd name="connsiteX36" fmla="*/ 465189 w 1023095"/>
              <a:gd name="connsiteY36" fmla="*/ 477401 h 925573"/>
              <a:gd name="connsiteX37" fmla="*/ 471583 w 1023095"/>
              <a:gd name="connsiteY37" fmla="*/ 470906 h 925573"/>
              <a:gd name="connsiteX38" fmla="*/ 522738 w 1023095"/>
              <a:gd name="connsiteY38" fmla="*/ 428687 h 925573"/>
              <a:gd name="connsiteX39" fmla="*/ 597871 w 1023095"/>
              <a:gd name="connsiteY39" fmla="*/ 492016 h 925573"/>
              <a:gd name="connsiteX40" fmla="*/ 602667 w 1023095"/>
              <a:gd name="connsiteY40" fmla="*/ 535859 h 925573"/>
              <a:gd name="connsiteX41" fmla="*/ 663413 w 1023095"/>
              <a:gd name="connsiteY41" fmla="*/ 543978 h 925573"/>
              <a:gd name="connsiteX42" fmla="*/ 666611 w 1023095"/>
              <a:gd name="connsiteY42" fmla="*/ 542354 h 925573"/>
              <a:gd name="connsiteX43" fmla="*/ 706575 w 1023095"/>
              <a:gd name="connsiteY43" fmla="*/ 569959 h 925573"/>
              <a:gd name="connsiteX44" fmla="*/ 684195 w 1023095"/>
              <a:gd name="connsiteY44" fmla="*/ 613802 h 925573"/>
              <a:gd name="connsiteX45" fmla="*/ 585083 w 1023095"/>
              <a:gd name="connsiteY45" fmla="*/ 608930 h 925573"/>
              <a:gd name="connsiteX46" fmla="*/ 708174 w 1023095"/>
              <a:gd name="connsiteY46" fmla="*/ 555344 h 925573"/>
              <a:gd name="connsiteX47" fmla="*/ 674603 w 1023095"/>
              <a:gd name="connsiteY47" fmla="*/ 529363 h 925573"/>
              <a:gd name="connsiteX48" fmla="*/ 668209 w 1023095"/>
              <a:gd name="connsiteY48" fmla="*/ 488768 h 925573"/>
              <a:gd name="connsiteX49" fmla="*/ 613857 w 1023095"/>
              <a:gd name="connsiteY49" fmla="*/ 477401 h 925573"/>
              <a:gd name="connsiteX50" fmla="*/ 549914 w 1023095"/>
              <a:gd name="connsiteY50" fmla="*/ 414072 h 925573"/>
              <a:gd name="connsiteX51" fmla="*/ 673005 w 1023095"/>
              <a:gd name="connsiteY51" fmla="*/ 379972 h 925573"/>
              <a:gd name="connsiteX52" fmla="*/ 676202 w 1023095"/>
              <a:gd name="connsiteY52" fmla="*/ 383220 h 925573"/>
              <a:gd name="connsiteX53" fmla="*/ 708174 w 1023095"/>
              <a:gd name="connsiteY53" fmla="*/ 555344 h 925573"/>
              <a:gd name="connsiteX54" fmla="*/ 696984 w 1023095"/>
              <a:gd name="connsiteY54" fmla="*/ 366982 h 925573"/>
              <a:gd name="connsiteX55" fmla="*/ 519541 w 1023095"/>
              <a:gd name="connsiteY55" fmla="*/ 277672 h 925573"/>
              <a:gd name="connsiteX56" fmla="*/ 383661 w 1023095"/>
              <a:gd name="connsiteY56" fmla="*/ 324763 h 925573"/>
              <a:gd name="connsiteX57" fmla="*/ 342097 w 1023095"/>
              <a:gd name="connsiteY57" fmla="*/ 643030 h 925573"/>
              <a:gd name="connsiteX58" fmla="*/ 519541 w 1023095"/>
              <a:gd name="connsiteY58" fmla="*/ 732340 h 925573"/>
              <a:gd name="connsiteX59" fmla="*/ 655420 w 1023095"/>
              <a:gd name="connsiteY59" fmla="*/ 685249 h 925573"/>
              <a:gd name="connsiteX60" fmla="*/ 696984 w 1023095"/>
              <a:gd name="connsiteY60" fmla="*/ 366982 h 925573"/>
              <a:gd name="connsiteX61" fmla="*/ 137478 w 1023095"/>
              <a:gd name="connsiteY61" fmla="*/ 725845 h 925573"/>
              <a:gd name="connsiteX62" fmla="*/ 206218 w 1023095"/>
              <a:gd name="connsiteY62" fmla="*/ 768064 h 925573"/>
              <a:gd name="connsiteX63" fmla="*/ 206218 w 1023095"/>
              <a:gd name="connsiteY63" fmla="*/ 682002 h 925573"/>
              <a:gd name="connsiteX64" fmla="*/ 137478 w 1023095"/>
              <a:gd name="connsiteY64" fmla="*/ 641406 h 925573"/>
              <a:gd name="connsiteX65" fmla="*/ 137478 w 1023095"/>
              <a:gd name="connsiteY65" fmla="*/ 725845 h 925573"/>
              <a:gd name="connsiteX66" fmla="*/ 800892 w 1023095"/>
              <a:gd name="connsiteY66" fmla="*/ 682002 h 925573"/>
              <a:gd name="connsiteX67" fmla="*/ 800892 w 1023095"/>
              <a:gd name="connsiteY67" fmla="*/ 768064 h 925573"/>
              <a:gd name="connsiteX68" fmla="*/ 869631 w 1023095"/>
              <a:gd name="connsiteY68" fmla="*/ 725845 h 925573"/>
              <a:gd name="connsiteX69" fmla="*/ 869631 w 1023095"/>
              <a:gd name="connsiteY69" fmla="*/ 641406 h 925573"/>
              <a:gd name="connsiteX70" fmla="*/ 800892 w 1023095"/>
              <a:gd name="connsiteY70" fmla="*/ 682002 h 925573"/>
              <a:gd name="connsiteX71" fmla="*/ 503555 w 1023095"/>
              <a:gd name="connsiteY71" fmla="*/ 73072 h 925573"/>
              <a:gd name="connsiteX72" fmla="*/ 431618 w 1023095"/>
              <a:gd name="connsiteY72" fmla="*/ 110419 h 925573"/>
              <a:gd name="connsiteX73" fmla="*/ 503555 w 1023095"/>
              <a:gd name="connsiteY73" fmla="*/ 155886 h 925573"/>
              <a:gd name="connsiteX74" fmla="*/ 575491 w 1023095"/>
              <a:gd name="connsiteY74" fmla="*/ 110419 h 925573"/>
              <a:gd name="connsiteX75" fmla="*/ 503555 w 1023095"/>
              <a:gd name="connsiteY75" fmla="*/ 73072 h 925573"/>
              <a:gd name="connsiteX76" fmla="*/ 755652 w 1023095"/>
              <a:gd name="connsiteY76" fmla="*/ 641569 h 925573"/>
              <a:gd name="connsiteX77" fmla="*/ 791300 w 1023095"/>
              <a:gd name="connsiteY77" fmla="*/ 664140 h 925573"/>
              <a:gd name="connsiteX78" fmla="*/ 863237 w 1023095"/>
              <a:gd name="connsiteY78" fmla="*/ 618673 h 925573"/>
              <a:gd name="connsiteX79" fmla="*/ 791300 w 1023095"/>
              <a:gd name="connsiteY79" fmla="*/ 582949 h 925573"/>
              <a:gd name="connsiteX80" fmla="*/ 778352 w 1023095"/>
              <a:gd name="connsiteY80" fmla="*/ 589444 h 925573"/>
              <a:gd name="connsiteX81" fmla="*/ 755652 w 1023095"/>
              <a:gd name="connsiteY81" fmla="*/ 641569 h 925573"/>
              <a:gd name="connsiteX82" fmla="*/ 712970 w 1023095"/>
              <a:gd name="connsiteY82" fmla="*/ 698889 h 925573"/>
              <a:gd name="connsiteX83" fmla="*/ 712970 w 1023095"/>
              <a:gd name="connsiteY83" fmla="*/ 725845 h 925573"/>
              <a:gd name="connsiteX84" fmla="*/ 781709 w 1023095"/>
              <a:gd name="connsiteY84" fmla="*/ 768064 h 925573"/>
              <a:gd name="connsiteX85" fmla="*/ 781709 w 1023095"/>
              <a:gd name="connsiteY85" fmla="*/ 682002 h 925573"/>
              <a:gd name="connsiteX86" fmla="*/ 744462 w 1023095"/>
              <a:gd name="connsiteY86" fmla="*/ 659918 h 925573"/>
              <a:gd name="connsiteX87" fmla="*/ 712970 w 1023095"/>
              <a:gd name="connsiteY87" fmla="*/ 698889 h 925573"/>
              <a:gd name="connsiteX88" fmla="*/ 575491 w 1023095"/>
              <a:gd name="connsiteY88" fmla="*/ 775209 h 925573"/>
              <a:gd name="connsiteX89" fmla="*/ 575491 w 1023095"/>
              <a:gd name="connsiteY89" fmla="*/ 816778 h 925573"/>
              <a:gd name="connsiteX90" fmla="*/ 599470 w 1023095"/>
              <a:gd name="connsiteY90" fmla="*/ 842759 h 925573"/>
              <a:gd name="connsiteX91" fmla="*/ 735350 w 1023095"/>
              <a:gd name="connsiteY91" fmla="*/ 842759 h 925573"/>
              <a:gd name="connsiteX92" fmla="*/ 642632 w 1023095"/>
              <a:gd name="connsiteY92" fmla="*/ 904464 h 925573"/>
              <a:gd name="connsiteX93" fmla="*/ 642632 w 1023095"/>
              <a:gd name="connsiteY93" fmla="*/ 932069 h 925573"/>
              <a:gd name="connsiteX94" fmla="*/ 939969 w 1023095"/>
              <a:gd name="connsiteY94" fmla="*/ 932069 h 925573"/>
              <a:gd name="connsiteX95" fmla="*/ 939969 w 1023095"/>
              <a:gd name="connsiteY95" fmla="*/ 902840 h 925573"/>
              <a:gd name="connsiteX96" fmla="*/ 858441 w 1023095"/>
              <a:gd name="connsiteY96" fmla="*/ 842759 h 925573"/>
              <a:gd name="connsiteX97" fmla="*/ 995919 w 1023095"/>
              <a:gd name="connsiteY97" fmla="*/ 842759 h 925573"/>
              <a:gd name="connsiteX98" fmla="*/ 1023095 w 1023095"/>
              <a:gd name="connsiteY98" fmla="*/ 816778 h 925573"/>
              <a:gd name="connsiteX99" fmla="*/ 1023095 w 1023095"/>
              <a:gd name="connsiteY99" fmla="*/ 534235 h 925573"/>
              <a:gd name="connsiteX100" fmla="*/ 997518 w 1023095"/>
              <a:gd name="connsiteY100" fmla="*/ 508254 h 925573"/>
              <a:gd name="connsiteX101" fmla="*/ 791300 w 1023095"/>
              <a:gd name="connsiteY101" fmla="*/ 508254 h 925573"/>
              <a:gd name="connsiteX102" fmla="*/ 788423 w 1023095"/>
              <a:gd name="connsiteY102" fmla="*/ 545601 h 925573"/>
              <a:gd name="connsiteX103" fmla="*/ 989525 w 1023095"/>
              <a:gd name="connsiteY103" fmla="*/ 545601 h 925573"/>
              <a:gd name="connsiteX104" fmla="*/ 989525 w 1023095"/>
              <a:gd name="connsiteY104" fmla="*/ 808659 h 925573"/>
              <a:gd name="connsiteX105" fmla="*/ 610660 w 1023095"/>
              <a:gd name="connsiteY105" fmla="*/ 808659 h 925573"/>
              <a:gd name="connsiteX106" fmla="*/ 610660 w 1023095"/>
              <a:gd name="connsiteY106" fmla="*/ 765141 h 925573"/>
              <a:gd name="connsiteX107" fmla="*/ 575491 w 1023095"/>
              <a:gd name="connsiteY107" fmla="*/ 775209 h 925573"/>
              <a:gd name="connsiteX108" fmla="*/ 285667 w 1023095"/>
              <a:gd name="connsiteY108" fmla="*/ 645466 h 925573"/>
              <a:gd name="connsiteX109" fmla="*/ 223802 w 1023095"/>
              <a:gd name="connsiteY109" fmla="*/ 682002 h 925573"/>
              <a:gd name="connsiteX110" fmla="*/ 223802 w 1023095"/>
              <a:gd name="connsiteY110" fmla="*/ 768064 h 925573"/>
              <a:gd name="connsiteX111" fmla="*/ 292541 w 1023095"/>
              <a:gd name="connsiteY111" fmla="*/ 725845 h 925573"/>
              <a:gd name="connsiteX112" fmla="*/ 292541 w 1023095"/>
              <a:gd name="connsiteY112" fmla="*/ 656833 h 925573"/>
              <a:gd name="connsiteX113" fmla="*/ 285667 w 1023095"/>
              <a:gd name="connsiteY113" fmla="*/ 645466 h 925573"/>
              <a:gd name="connsiteX114" fmla="*/ 267763 w 1023095"/>
              <a:gd name="connsiteY114" fmla="*/ 608768 h 925573"/>
              <a:gd name="connsiteX115" fmla="*/ 215809 w 1023095"/>
              <a:gd name="connsiteY115" fmla="*/ 582949 h 925573"/>
              <a:gd name="connsiteX116" fmla="*/ 142274 w 1023095"/>
              <a:gd name="connsiteY116" fmla="*/ 618673 h 925573"/>
              <a:gd name="connsiteX117" fmla="*/ 215809 w 1023095"/>
              <a:gd name="connsiteY117" fmla="*/ 664140 h 925573"/>
              <a:gd name="connsiteX118" fmla="*/ 275436 w 1023095"/>
              <a:gd name="connsiteY118" fmla="*/ 626467 h 925573"/>
              <a:gd name="connsiteX119" fmla="*/ 267763 w 1023095"/>
              <a:gd name="connsiteY119" fmla="*/ 608768 h 925573"/>
              <a:gd name="connsiteX120" fmla="*/ 247781 w 1023095"/>
              <a:gd name="connsiteY120" fmla="*/ 508254 h 925573"/>
              <a:gd name="connsiteX121" fmla="*/ 23979 w 1023095"/>
              <a:gd name="connsiteY121" fmla="*/ 508254 h 925573"/>
              <a:gd name="connsiteX122" fmla="*/ 0 w 1023095"/>
              <a:gd name="connsiteY122" fmla="*/ 534235 h 925573"/>
              <a:gd name="connsiteX123" fmla="*/ 0 w 1023095"/>
              <a:gd name="connsiteY123" fmla="*/ 816778 h 925573"/>
              <a:gd name="connsiteX124" fmla="*/ 23979 w 1023095"/>
              <a:gd name="connsiteY124" fmla="*/ 842759 h 925573"/>
              <a:gd name="connsiteX125" fmla="*/ 159859 w 1023095"/>
              <a:gd name="connsiteY125" fmla="*/ 842759 h 925573"/>
              <a:gd name="connsiteX126" fmla="*/ 67141 w 1023095"/>
              <a:gd name="connsiteY126" fmla="*/ 904464 h 925573"/>
              <a:gd name="connsiteX127" fmla="*/ 67141 w 1023095"/>
              <a:gd name="connsiteY127" fmla="*/ 932069 h 925573"/>
              <a:gd name="connsiteX128" fmla="*/ 364478 w 1023095"/>
              <a:gd name="connsiteY128" fmla="*/ 932069 h 925573"/>
              <a:gd name="connsiteX129" fmla="*/ 364478 w 1023095"/>
              <a:gd name="connsiteY129" fmla="*/ 902840 h 925573"/>
              <a:gd name="connsiteX130" fmla="*/ 282950 w 1023095"/>
              <a:gd name="connsiteY130" fmla="*/ 842759 h 925573"/>
              <a:gd name="connsiteX131" fmla="*/ 420428 w 1023095"/>
              <a:gd name="connsiteY131" fmla="*/ 842759 h 925573"/>
              <a:gd name="connsiteX132" fmla="*/ 447604 w 1023095"/>
              <a:gd name="connsiteY132" fmla="*/ 816778 h 925573"/>
              <a:gd name="connsiteX133" fmla="*/ 447604 w 1023095"/>
              <a:gd name="connsiteY133" fmla="*/ 771149 h 925573"/>
              <a:gd name="connsiteX134" fmla="*/ 414034 w 1023095"/>
              <a:gd name="connsiteY134" fmla="*/ 759458 h 925573"/>
              <a:gd name="connsiteX135" fmla="*/ 414034 w 1023095"/>
              <a:gd name="connsiteY135" fmla="*/ 808659 h 925573"/>
              <a:gd name="connsiteX136" fmla="*/ 35169 w 1023095"/>
              <a:gd name="connsiteY136" fmla="*/ 808659 h 925573"/>
              <a:gd name="connsiteX137" fmla="*/ 35169 w 1023095"/>
              <a:gd name="connsiteY137" fmla="*/ 545601 h 925573"/>
              <a:gd name="connsiteX138" fmla="*/ 250658 w 1023095"/>
              <a:gd name="connsiteY138" fmla="*/ 545601 h 925573"/>
              <a:gd name="connsiteX139" fmla="*/ 247781 w 1023095"/>
              <a:gd name="connsiteY139" fmla="*/ 508254 h 925573"/>
              <a:gd name="connsiteX140" fmla="*/ 493963 w 1023095"/>
              <a:gd name="connsiteY140" fmla="*/ 230257 h 925573"/>
              <a:gd name="connsiteX141" fmla="*/ 493963 w 1023095"/>
              <a:gd name="connsiteY141" fmla="*/ 172124 h 925573"/>
              <a:gd name="connsiteX142" fmla="*/ 425224 w 1023095"/>
              <a:gd name="connsiteY142" fmla="*/ 131529 h 925573"/>
              <a:gd name="connsiteX143" fmla="*/ 425224 w 1023095"/>
              <a:gd name="connsiteY143" fmla="*/ 217591 h 925573"/>
              <a:gd name="connsiteX144" fmla="*/ 457036 w 1023095"/>
              <a:gd name="connsiteY144" fmla="*/ 236427 h 925573"/>
              <a:gd name="connsiteX145" fmla="*/ 493963 w 1023095"/>
              <a:gd name="connsiteY145" fmla="*/ 230257 h 925573"/>
              <a:gd name="connsiteX146" fmla="*/ 556628 w 1023095"/>
              <a:gd name="connsiteY146" fmla="*/ 231556 h 925573"/>
              <a:gd name="connsiteX147" fmla="*/ 580287 w 1023095"/>
              <a:gd name="connsiteY147" fmla="*/ 217591 h 925573"/>
              <a:gd name="connsiteX148" fmla="*/ 580287 w 1023095"/>
              <a:gd name="connsiteY148" fmla="*/ 133153 h 925573"/>
              <a:gd name="connsiteX149" fmla="*/ 511548 w 1023095"/>
              <a:gd name="connsiteY149" fmla="*/ 172124 h 925573"/>
              <a:gd name="connsiteX150" fmla="*/ 511548 w 1023095"/>
              <a:gd name="connsiteY150" fmla="*/ 229120 h 925573"/>
              <a:gd name="connsiteX151" fmla="*/ 556628 w 1023095"/>
              <a:gd name="connsiteY151" fmla="*/ 231556 h 925573"/>
              <a:gd name="connsiteX152" fmla="*/ 725439 w 1023095"/>
              <a:gd name="connsiteY152" fmla="*/ 324763 h 925573"/>
              <a:gd name="connsiteX153" fmla="*/ 735350 w 1023095"/>
              <a:gd name="connsiteY153" fmla="*/ 305277 h 925573"/>
              <a:gd name="connsiteX154" fmla="*/ 735350 w 1023095"/>
              <a:gd name="connsiteY154" fmla="*/ 22733 h 925573"/>
              <a:gd name="connsiteX155" fmla="*/ 709772 w 1023095"/>
              <a:gd name="connsiteY155" fmla="*/ 0 h 925573"/>
              <a:gd name="connsiteX156" fmla="*/ 311724 w 1023095"/>
              <a:gd name="connsiteY156" fmla="*/ 0 h 925573"/>
              <a:gd name="connsiteX157" fmla="*/ 287746 w 1023095"/>
              <a:gd name="connsiteY157" fmla="*/ 25981 h 925573"/>
              <a:gd name="connsiteX158" fmla="*/ 287746 w 1023095"/>
              <a:gd name="connsiteY158" fmla="*/ 308525 h 925573"/>
              <a:gd name="connsiteX159" fmla="*/ 306289 w 1023095"/>
              <a:gd name="connsiteY159" fmla="*/ 333856 h 925573"/>
              <a:gd name="connsiteX160" fmla="*/ 338900 w 1023095"/>
              <a:gd name="connsiteY160" fmla="*/ 298782 h 925573"/>
              <a:gd name="connsiteX161" fmla="*/ 322914 w 1023095"/>
              <a:gd name="connsiteY161" fmla="*/ 298782 h 925573"/>
              <a:gd name="connsiteX162" fmla="*/ 322914 w 1023095"/>
              <a:gd name="connsiteY162" fmla="*/ 35724 h 925573"/>
              <a:gd name="connsiteX163" fmla="*/ 701779 w 1023095"/>
              <a:gd name="connsiteY163" fmla="*/ 35724 h 925573"/>
              <a:gd name="connsiteX164" fmla="*/ 701779 w 1023095"/>
              <a:gd name="connsiteY164" fmla="*/ 298782 h 925573"/>
              <a:gd name="connsiteX165" fmla="*/ 700181 w 1023095"/>
              <a:gd name="connsiteY165" fmla="*/ 298782 h 925573"/>
              <a:gd name="connsiteX166" fmla="*/ 725439 w 1023095"/>
              <a:gd name="connsiteY166" fmla="*/ 324763 h 9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1023095" h="925573">
                <a:moveTo>
                  <a:pt x="637836" y="660892"/>
                </a:moveTo>
                <a:cubicBezTo>
                  <a:pt x="602667" y="688497"/>
                  <a:pt x="561104" y="701488"/>
                  <a:pt x="519541" y="701488"/>
                </a:cubicBezTo>
                <a:cubicBezTo>
                  <a:pt x="474780" y="701488"/>
                  <a:pt x="431618" y="685249"/>
                  <a:pt x="394851" y="656021"/>
                </a:cubicBezTo>
                <a:cubicBezTo>
                  <a:pt x="393252" y="634911"/>
                  <a:pt x="394851" y="600811"/>
                  <a:pt x="407640" y="566711"/>
                </a:cubicBezTo>
                <a:cubicBezTo>
                  <a:pt x="417231" y="566711"/>
                  <a:pt x="425224" y="566711"/>
                  <a:pt x="436414" y="561839"/>
                </a:cubicBezTo>
                <a:cubicBezTo>
                  <a:pt x="441210" y="566711"/>
                  <a:pt x="446006" y="571582"/>
                  <a:pt x="453999" y="574830"/>
                </a:cubicBezTo>
                <a:cubicBezTo>
                  <a:pt x="473182" y="589444"/>
                  <a:pt x="493963" y="602435"/>
                  <a:pt x="509949" y="612178"/>
                </a:cubicBezTo>
                <a:cubicBezTo>
                  <a:pt x="508350" y="621921"/>
                  <a:pt x="511548" y="631664"/>
                  <a:pt x="517942" y="639783"/>
                </a:cubicBezTo>
                <a:cubicBezTo>
                  <a:pt x="530731" y="657645"/>
                  <a:pt x="556308" y="660892"/>
                  <a:pt x="572294" y="646278"/>
                </a:cubicBezTo>
                <a:cubicBezTo>
                  <a:pt x="575491" y="643030"/>
                  <a:pt x="578688" y="639783"/>
                  <a:pt x="580287" y="636535"/>
                </a:cubicBezTo>
                <a:cubicBezTo>
                  <a:pt x="610660" y="643030"/>
                  <a:pt x="636237" y="644654"/>
                  <a:pt x="655420" y="644654"/>
                </a:cubicBezTo>
                <a:cubicBezTo>
                  <a:pt x="649026" y="651149"/>
                  <a:pt x="645829" y="656021"/>
                  <a:pt x="637836" y="660892"/>
                </a:cubicBezTo>
                <a:close/>
                <a:moveTo>
                  <a:pt x="359682" y="391339"/>
                </a:moveTo>
                <a:cubicBezTo>
                  <a:pt x="354886" y="410825"/>
                  <a:pt x="353288" y="438430"/>
                  <a:pt x="367675" y="470906"/>
                </a:cubicBezTo>
                <a:cubicBezTo>
                  <a:pt x="350090" y="492016"/>
                  <a:pt x="350090" y="521244"/>
                  <a:pt x="367675" y="542354"/>
                </a:cubicBezTo>
                <a:lnTo>
                  <a:pt x="372471" y="547225"/>
                </a:lnTo>
                <a:cubicBezTo>
                  <a:pt x="366076" y="571582"/>
                  <a:pt x="362879" y="595940"/>
                  <a:pt x="361281" y="615425"/>
                </a:cubicBezTo>
                <a:cubicBezTo>
                  <a:pt x="311724" y="547225"/>
                  <a:pt x="314922" y="457915"/>
                  <a:pt x="359682" y="391339"/>
                </a:cubicBezTo>
                <a:close/>
                <a:moveTo>
                  <a:pt x="401245" y="347496"/>
                </a:moveTo>
                <a:cubicBezTo>
                  <a:pt x="410837" y="339377"/>
                  <a:pt x="422027" y="332882"/>
                  <a:pt x="433217" y="326387"/>
                </a:cubicBezTo>
                <a:cubicBezTo>
                  <a:pt x="447604" y="349120"/>
                  <a:pt x="465189" y="371853"/>
                  <a:pt x="485970" y="392963"/>
                </a:cubicBezTo>
                <a:cubicBezTo>
                  <a:pt x="468386" y="405953"/>
                  <a:pt x="450801" y="420568"/>
                  <a:pt x="431618" y="440053"/>
                </a:cubicBezTo>
                <a:cubicBezTo>
                  <a:pt x="430020" y="443301"/>
                  <a:pt x="426823" y="444925"/>
                  <a:pt x="425224" y="448173"/>
                </a:cubicBezTo>
                <a:cubicBezTo>
                  <a:pt x="414034" y="446549"/>
                  <a:pt x="404442" y="446549"/>
                  <a:pt x="393252" y="449796"/>
                </a:cubicBezTo>
                <a:cubicBezTo>
                  <a:pt x="375668" y="412449"/>
                  <a:pt x="375668" y="381596"/>
                  <a:pt x="378865" y="363734"/>
                </a:cubicBezTo>
                <a:cubicBezTo>
                  <a:pt x="386858" y="358863"/>
                  <a:pt x="391654" y="353991"/>
                  <a:pt x="401245" y="347496"/>
                </a:cubicBezTo>
                <a:close/>
                <a:moveTo>
                  <a:pt x="645829" y="352368"/>
                </a:moveTo>
                <a:cubicBezTo>
                  <a:pt x="615456" y="345872"/>
                  <a:pt x="569097" y="347496"/>
                  <a:pt x="516343" y="376725"/>
                </a:cubicBezTo>
                <a:cubicBezTo>
                  <a:pt x="498759" y="357239"/>
                  <a:pt x="481175" y="336129"/>
                  <a:pt x="461991" y="316644"/>
                </a:cubicBezTo>
                <a:cubicBezTo>
                  <a:pt x="481175" y="310148"/>
                  <a:pt x="501956" y="306901"/>
                  <a:pt x="522738" y="306901"/>
                </a:cubicBezTo>
                <a:cubicBezTo>
                  <a:pt x="564301" y="306901"/>
                  <a:pt x="607463" y="323139"/>
                  <a:pt x="645829" y="352368"/>
                </a:cubicBezTo>
                <a:close/>
                <a:moveTo>
                  <a:pt x="585083" y="608930"/>
                </a:moveTo>
                <a:cubicBezTo>
                  <a:pt x="583484" y="604059"/>
                  <a:pt x="581885" y="597563"/>
                  <a:pt x="578688" y="592692"/>
                </a:cubicBezTo>
                <a:cubicBezTo>
                  <a:pt x="565900" y="576454"/>
                  <a:pt x="543519" y="573206"/>
                  <a:pt x="527534" y="582949"/>
                </a:cubicBezTo>
                <a:cubicBezTo>
                  <a:pt x="509949" y="573206"/>
                  <a:pt x="492365" y="561839"/>
                  <a:pt x="474780" y="547225"/>
                </a:cubicBezTo>
                <a:cubicBezTo>
                  <a:pt x="471583" y="543978"/>
                  <a:pt x="468386" y="540730"/>
                  <a:pt x="463590" y="537482"/>
                </a:cubicBezTo>
                <a:cubicBezTo>
                  <a:pt x="474780" y="519620"/>
                  <a:pt x="476379" y="496887"/>
                  <a:pt x="465189" y="477401"/>
                </a:cubicBezTo>
                <a:lnTo>
                  <a:pt x="471583" y="470906"/>
                </a:lnTo>
                <a:cubicBezTo>
                  <a:pt x="489167" y="453044"/>
                  <a:pt x="506752" y="440053"/>
                  <a:pt x="522738" y="428687"/>
                </a:cubicBezTo>
                <a:cubicBezTo>
                  <a:pt x="546717" y="451420"/>
                  <a:pt x="573893" y="472530"/>
                  <a:pt x="597871" y="492016"/>
                </a:cubicBezTo>
                <a:cubicBezTo>
                  <a:pt x="591477" y="506630"/>
                  <a:pt x="593076" y="522868"/>
                  <a:pt x="602667" y="535859"/>
                </a:cubicBezTo>
                <a:cubicBezTo>
                  <a:pt x="617054" y="555344"/>
                  <a:pt x="642632" y="558592"/>
                  <a:pt x="663413" y="543978"/>
                </a:cubicBezTo>
                <a:cubicBezTo>
                  <a:pt x="665012" y="543978"/>
                  <a:pt x="665012" y="542354"/>
                  <a:pt x="666611" y="542354"/>
                </a:cubicBezTo>
                <a:cubicBezTo>
                  <a:pt x="684195" y="555344"/>
                  <a:pt x="698582" y="565087"/>
                  <a:pt x="706575" y="569959"/>
                </a:cubicBezTo>
                <a:cubicBezTo>
                  <a:pt x="701779" y="584573"/>
                  <a:pt x="693787" y="599187"/>
                  <a:pt x="684195" y="613802"/>
                </a:cubicBezTo>
                <a:cubicBezTo>
                  <a:pt x="668209" y="618673"/>
                  <a:pt x="634639" y="623544"/>
                  <a:pt x="585083" y="608930"/>
                </a:cubicBezTo>
                <a:close/>
                <a:moveTo>
                  <a:pt x="708174" y="555344"/>
                </a:moveTo>
                <a:cubicBezTo>
                  <a:pt x="700181" y="548849"/>
                  <a:pt x="688991" y="540730"/>
                  <a:pt x="674603" y="529363"/>
                </a:cubicBezTo>
                <a:cubicBezTo>
                  <a:pt x="679399" y="516373"/>
                  <a:pt x="677801" y="500135"/>
                  <a:pt x="668209" y="488768"/>
                </a:cubicBezTo>
                <a:cubicBezTo>
                  <a:pt x="655420" y="470906"/>
                  <a:pt x="629843" y="467658"/>
                  <a:pt x="613857" y="477401"/>
                </a:cubicBezTo>
                <a:cubicBezTo>
                  <a:pt x="594674" y="459539"/>
                  <a:pt x="572294" y="436806"/>
                  <a:pt x="549914" y="414072"/>
                </a:cubicBezTo>
                <a:cubicBezTo>
                  <a:pt x="617054" y="376725"/>
                  <a:pt x="668209" y="379972"/>
                  <a:pt x="673005" y="379972"/>
                </a:cubicBezTo>
                <a:cubicBezTo>
                  <a:pt x="673005" y="381596"/>
                  <a:pt x="674603" y="381596"/>
                  <a:pt x="676202" y="383220"/>
                </a:cubicBezTo>
                <a:cubicBezTo>
                  <a:pt x="712970" y="433558"/>
                  <a:pt x="722561" y="498511"/>
                  <a:pt x="708174" y="555344"/>
                </a:cubicBezTo>
                <a:close/>
                <a:moveTo>
                  <a:pt x="696984" y="366982"/>
                </a:moveTo>
                <a:cubicBezTo>
                  <a:pt x="653822" y="308525"/>
                  <a:pt x="585083" y="277672"/>
                  <a:pt x="519541" y="277672"/>
                </a:cubicBezTo>
                <a:cubicBezTo>
                  <a:pt x="469984" y="277672"/>
                  <a:pt x="423625" y="292286"/>
                  <a:pt x="383661" y="324763"/>
                </a:cubicBezTo>
                <a:cubicBezTo>
                  <a:pt x="286147" y="401082"/>
                  <a:pt x="265365" y="543978"/>
                  <a:pt x="342097" y="643030"/>
                </a:cubicBezTo>
                <a:cubicBezTo>
                  <a:pt x="386858" y="701488"/>
                  <a:pt x="453999" y="732340"/>
                  <a:pt x="519541" y="732340"/>
                </a:cubicBezTo>
                <a:cubicBezTo>
                  <a:pt x="569097" y="732340"/>
                  <a:pt x="615456" y="717726"/>
                  <a:pt x="655420" y="685249"/>
                </a:cubicBezTo>
                <a:cubicBezTo>
                  <a:pt x="752934" y="608930"/>
                  <a:pt x="772117" y="464411"/>
                  <a:pt x="696984" y="366982"/>
                </a:cubicBezTo>
                <a:close/>
                <a:moveTo>
                  <a:pt x="137478" y="725845"/>
                </a:moveTo>
                <a:lnTo>
                  <a:pt x="206218" y="768064"/>
                </a:lnTo>
                <a:lnTo>
                  <a:pt x="206218" y="682002"/>
                </a:lnTo>
                <a:lnTo>
                  <a:pt x="137478" y="641406"/>
                </a:lnTo>
                <a:lnTo>
                  <a:pt x="137478" y="725845"/>
                </a:lnTo>
                <a:close/>
                <a:moveTo>
                  <a:pt x="800892" y="682002"/>
                </a:moveTo>
                <a:lnTo>
                  <a:pt x="800892" y="768064"/>
                </a:lnTo>
                <a:lnTo>
                  <a:pt x="869631" y="725845"/>
                </a:lnTo>
                <a:lnTo>
                  <a:pt x="869631" y="641406"/>
                </a:lnTo>
                <a:lnTo>
                  <a:pt x="800892" y="682002"/>
                </a:lnTo>
                <a:close/>
                <a:moveTo>
                  <a:pt x="503555" y="73072"/>
                </a:moveTo>
                <a:lnTo>
                  <a:pt x="431618" y="110419"/>
                </a:lnTo>
                <a:lnTo>
                  <a:pt x="503555" y="155886"/>
                </a:lnTo>
                <a:lnTo>
                  <a:pt x="575491" y="110419"/>
                </a:lnTo>
                <a:lnTo>
                  <a:pt x="503555" y="73072"/>
                </a:lnTo>
                <a:close/>
                <a:moveTo>
                  <a:pt x="755652" y="641569"/>
                </a:moveTo>
                <a:lnTo>
                  <a:pt x="791300" y="664140"/>
                </a:lnTo>
                <a:lnTo>
                  <a:pt x="863237" y="618673"/>
                </a:lnTo>
                <a:lnTo>
                  <a:pt x="791300" y="582949"/>
                </a:lnTo>
                <a:lnTo>
                  <a:pt x="778352" y="589444"/>
                </a:lnTo>
                <a:cubicBezTo>
                  <a:pt x="772576" y="607568"/>
                  <a:pt x="764968" y="625037"/>
                  <a:pt x="755652" y="641569"/>
                </a:cubicBezTo>
                <a:close/>
                <a:moveTo>
                  <a:pt x="712970" y="698889"/>
                </a:moveTo>
                <a:lnTo>
                  <a:pt x="712970" y="725845"/>
                </a:lnTo>
                <a:lnTo>
                  <a:pt x="781709" y="768064"/>
                </a:lnTo>
                <a:lnTo>
                  <a:pt x="781709" y="682002"/>
                </a:lnTo>
                <a:lnTo>
                  <a:pt x="744462" y="659918"/>
                </a:lnTo>
                <a:cubicBezTo>
                  <a:pt x="735156" y="673857"/>
                  <a:pt x="724615" y="686902"/>
                  <a:pt x="712970" y="698889"/>
                </a:cubicBezTo>
                <a:close/>
                <a:moveTo>
                  <a:pt x="575491" y="775209"/>
                </a:moveTo>
                <a:lnTo>
                  <a:pt x="575491" y="816778"/>
                </a:lnTo>
                <a:cubicBezTo>
                  <a:pt x="575491" y="831393"/>
                  <a:pt x="586681" y="842759"/>
                  <a:pt x="599470" y="842759"/>
                </a:cubicBezTo>
                <a:lnTo>
                  <a:pt x="735350" y="842759"/>
                </a:lnTo>
                <a:cubicBezTo>
                  <a:pt x="751336" y="896345"/>
                  <a:pt x="730554" y="904464"/>
                  <a:pt x="642632" y="904464"/>
                </a:cubicBezTo>
                <a:lnTo>
                  <a:pt x="642632" y="932069"/>
                </a:lnTo>
                <a:lnTo>
                  <a:pt x="939969" y="932069"/>
                </a:lnTo>
                <a:lnTo>
                  <a:pt x="939969" y="902840"/>
                </a:lnTo>
                <a:cubicBezTo>
                  <a:pt x="853645" y="902840"/>
                  <a:pt x="844054" y="894721"/>
                  <a:pt x="858441" y="842759"/>
                </a:cubicBezTo>
                <a:lnTo>
                  <a:pt x="995919" y="842759"/>
                </a:lnTo>
                <a:cubicBezTo>
                  <a:pt x="1010307" y="842759"/>
                  <a:pt x="1023095" y="829769"/>
                  <a:pt x="1023095" y="816778"/>
                </a:cubicBezTo>
                <a:lnTo>
                  <a:pt x="1023095" y="534235"/>
                </a:lnTo>
                <a:cubicBezTo>
                  <a:pt x="1024694" y="521244"/>
                  <a:pt x="1010307" y="508254"/>
                  <a:pt x="997518" y="508254"/>
                </a:cubicBezTo>
                <a:lnTo>
                  <a:pt x="791300" y="508254"/>
                </a:lnTo>
                <a:cubicBezTo>
                  <a:pt x="791174" y="520755"/>
                  <a:pt x="790213" y="533233"/>
                  <a:pt x="788423" y="545601"/>
                </a:cubicBezTo>
                <a:lnTo>
                  <a:pt x="989525" y="545601"/>
                </a:lnTo>
                <a:lnTo>
                  <a:pt x="989525" y="808659"/>
                </a:lnTo>
                <a:lnTo>
                  <a:pt x="610660" y="808659"/>
                </a:lnTo>
                <a:lnTo>
                  <a:pt x="610660" y="765141"/>
                </a:lnTo>
                <a:cubicBezTo>
                  <a:pt x="599173" y="769295"/>
                  <a:pt x="587423" y="772658"/>
                  <a:pt x="575491" y="775209"/>
                </a:cubicBezTo>
                <a:close/>
                <a:moveTo>
                  <a:pt x="285667" y="645466"/>
                </a:moveTo>
                <a:lnTo>
                  <a:pt x="223802" y="682002"/>
                </a:lnTo>
                <a:lnTo>
                  <a:pt x="223802" y="768064"/>
                </a:lnTo>
                <a:lnTo>
                  <a:pt x="292541" y="725845"/>
                </a:lnTo>
                <a:lnTo>
                  <a:pt x="292541" y="656833"/>
                </a:lnTo>
                <a:cubicBezTo>
                  <a:pt x="290159" y="653101"/>
                  <a:pt x="287869" y="649311"/>
                  <a:pt x="285667" y="645466"/>
                </a:cubicBezTo>
                <a:close/>
                <a:moveTo>
                  <a:pt x="267763" y="608768"/>
                </a:moveTo>
                <a:lnTo>
                  <a:pt x="215809" y="582949"/>
                </a:lnTo>
                <a:lnTo>
                  <a:pt x="142274" y="618673"/>
                </a:lnTo>
                <a:lnTo>
                  <a:pt x="215809" y="664140"/>
                </a:lnTo>
                <a:lnTo>
                  <a:pt x="275436" y="626467"/>
                </a:lnTo>
                <a:cubicBezTo>
                  <a:pt x="272676" y="620661"/>
                  <a:pt x="270116" y="614756"/>
                  <a:pt x="267763" y="608768"/>
                </a:cubicBezTo>
                <a:close/>
                <a:moveTo>
                  <a:pt x="247781" y="508254"/>
                </a:moveTo>
                <a:lnTo>
                  <a:pt x="23979" y="508254"/>
                </a:lnTo>
                <a:cubicBezTo>
                  <a:pt x="11190" y="508254"/>
                  <a:pt x="0" y="519620"/>
                  <a:pt x="0" y="534235"/>
                </a:cubicBezTo>
                <a:lnTo>
                  <a:pt x="0" y="816778"/>
                </a:lnTo>
                <a:cubicBezTo>
                  <a:pt x="0" y="831393"/>
                  <a:pt x="11190" y="842759"/>
                  <a:pt x="23979" y="842759"/>
                </a:cubicBezTo>
                <a:lnTo>
                  <a:pt x="159859" y="842759"/>
                </a:lnTo>
                <a:cubicBezTo>
                  <a:pt x="175845" y="896345"/>
                  <a:pt x="155063" y="904464"/>
                  <a:pt x="67141" y="904464"/>
                </a:cubicBezTo>
                <a:lnTo>
                  <a:pt x="67141" y="932069"/>
                </a:lnTo>
                <a:lnTo>
                  <a:pt x="364478" y="932069"/>
                </a:lnTo>
                <a:lnTo>
                  <a:pt x="364478" y="902840"/>
                </a:lnTo>
                <a:cubicBezTo>
                  <a:pt x="278154" y="902840"/>
                  <a:pt x="268563" y="894721"/>
                  <a:pt x="282950" y="842759"/>
                </a:cubicBezTo>
                <a:lnTo>
                  <a:pt x="420428" y="842759"/>
                </a:lnTo>
                <a:cubicBezTo>
                  <a:pt x="434816" y="842759"/>
                  <a:pt x="447604" y="829769"/>
                  <a:pt x="447604" y="816778"/>
                </a:cubicBezTo>
                <a:lnTo>
                  <a:pt x="447604" y="771149"/>
                </a:lnTo>
                <a:cubicBezTo>
                  <a:pt x="436176" y="767999"/>
                  <a:pt x="424962" y="764094"/>
                  <a:pt x="414034" y="759458"/>
                </a:cubicBezTo>
                <a:lnTo>
                  <a:pt x="414034" y="808659"/>
                </a:lnTo>
                <a:lnTo>
                  <a:pt x="35169" y="808659"/>
                </a:lnTo>
                <a:lnTo>
                  <a:pt x="35169" y="545601"/>
                </a:lnTo>
                <a:lnTo>
                  <a:pt x="250658" y="545601"/>
                </a:lnTo>
                <a:cubicBezTo>
                  <a:pt x="248868" y="533233"/>
                  <a:pt x="247906" y="520755"/>
                  <a:pt x="247781" y="508254"/>
                </a:cubicBezTo>
                <a:close/>
                <a:moveTo>
                  <a:pt x="493963" y="230257"/>
                </a:moveTo>
                <a:lnTo>
                  <a:pt x="493963" y="172124"/>
                </a:lnTo>
                <a:lnTo>
                  <a:pt x="425224" y="131529"/>
                </a:lnTo>
                <a:lnTo>
                  <a:pt x="425224" y="217591"/>
                </a:lnTo>
                <a:lnTo>
                  <a:pt x="457036" y="236427"/>
                </a:lnTo>
                <a:cubicBezTo>
                  <a:pt x="469192" y="233511"/>
                  <a:pt x="481529" y="231449"/>
                  <a:pt x="493963" y="230257"/>
                </a:cubicBezTo>
                <a:close/>
                <a:moveTo>
                  <a:pt x="556628" y="231556"/>
                </a:moveTo>
                <a:lnTo>
                  <a:pt x="580287" y="217591"/>
                </a:lnTo>
                <a:lnTo>
                  <a:pt x="580287" y="133153"/>
                </a:lnTo>
                <a:lnTo>
                  <a:pt x="511548" y="172124"/>
                </a:lnTo>
                <a:lnTo>
                  <a:pt x="511548" y="229120"/>
                </a:lnTo>
                <a:cubicBezTo>
                  <a:pt x="526614" y="228661"/>
                  <a:pt x="541694" y="229476"/>
                  <a:pt x="556628" y="231556"/>
                </a:cubicBezTo>
                <a:close/>
                <a:moveTo>
                  <a:pt x="725439" y="324763"/>
                </a:moveTo>
                <a:cubicBezTo>
                  <a:pt x="731353" y="319729"/>
                  <a:pt x="735350" y="312584"/>
                  <a:pt x="735350" y="305277"/>
                </a:cubicBezTo>
                <a:lnTo>
                  <a:pt x="735350" y="22733"/>
                </a:lnTo>
                <a:cubicBezTo>
                  <a:pt x="736948" y="11367"/>
                  <a:pt x="722561" y="0"/>
                  <a:pt x="709772" y="0"/>
                </a:cubicBezTo>
                <a:lnTo>
                  <a:pt x="311724" y="0"/>
                </a:lnTo>
                <a:cubicBezTo>
                  <a:pt x="298936" y="0"/>
                  <a:pt x="287746" y="11367"/>
                  <a:pt x="287746" y="25981"/>
                </a:cubicBezTo>
                <a:lnTo>
                  <a:pt x="287746" y="308525"/>
                </a:lnTo>
                <a:cubicBezTo>
                  <a:pt x="287746" y="321028"/>
                  <a:pt x="295898" y="331096"/>
                  <a:pt x="306289" y="333856"/>
                </a:cubicBezTo>
                <a:cubicBezTo>
                  <a:pt x="316132" y="321220"/>
                  <a:pt x="327044" y="309484"/>
                  <a:pt x="338900" y="298782"/>
                </a:cubicBezTo>
                <a:lnTo>
                  <a:pt x="322914" y="298782"/>
                </a:lnTo>
                <a:lnTo>
                  <a:pt x="322914" y="35724"/>
                </a:lnTo>
                <a:lnTo>
                  <a:pt x="701779" y="35724"/>
                </a:lnTo>
                <a:lnTo>
                  <a:pt x="701779" y="298782"/>
                </a:lnTo>
                <a:lnTo>
                  <a:pt x="700181" y="298782"/>
                </a:lnTo>
                <a:cubicBezTo>
                  <a:pt x="709155" y="306867"/>
                  <a:pt x="717593" y="315546"/>
                  <a:pt x="725439" y="324763"/>
                </a:cubicBezTo>
                <a:close/>
              </a:path>
            </a:pathLst>
          </a:custGeom>
          <a:solidFill>
            <a:schemeClr val="accent1"/>
          </a:solidFill>
          <a:ln w="119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61" name="Group 60">
            <a:extLst>
              <a:ext uri="{FF2B5EF4-FFF2-40B4-BE49-F238E27FC236}">
                <a16:creationId xmlns:a16="http://schemas.microsoft.com/office/drawing/2014/main" id="{5F200730-A1D5-44C5-B51C-3EC8D0974AC8}"/>
              </a:ext>
            </a:extLst>
          </p:cNvPr>
          <p:cNvGrpSpPr/>
          <p:nvPr/>
        </p:nvGrpSpPr>
        <p:grpSpPr>
          <a:xfrm>
            <a:off x="9420643" y="4936711"/>
            <a:ext cx="932437" cy="819672"/>
            <a:chOff x="9547521" y="4845065"/>
            <a:chExt cx="814322" cy="715841"/>
          </a:xfrm>
        </p:grpSpPr>
        <p:sp>
          <p:nvSpPr>
            <p:cNvPr id="48" name="Freeform: Shape 47">
              <a:extLst>
                <a:ext uri="{FF2B5EF4-FFF2-40B4-BE49-F238E27FC236}">
                  <a16:creationId xmlns:a16="http://schemas.microsoft.com/office/drawing/2014/main" id="{DBDFA68A-56AD-4512-8B38-93752A1EB772}"/>
                </a:ext>
              </a:extLst>
            </p:cNvPr>
            <p:cNvSpPr/>
            <p:nvPr/>
          </p:nvSpPr>
          <p:spPr>
            <a:xfrm>
              <a:off x="9547521" y="4845065"/>
              <a:ext cx="680914" cy="582836"/>
            </a:xfrm>
            <a:custGeom>
              <a:avLst/>
              <a:gdLst>
                <a:gd name="connsiteX0" fmla="*/ 0 w 427482"/>
                <a:gd name="connsiteY0" fmla="*/ 0 h 365908"/>
                <a:gd name="connsiteX1" fmla="*/ 437556 w 427482"/>
                <a:gd name="connsiteY1" fmla="*/ 0 h 365908"/>
                <a:gd name="connsiteX2" fmla="*/ 437556 w 427482"/>
                <a:gd name="connsiteY2" fmla="*/ 375466 h 365908"/>
                <a:gd name="connsiteX3" fmla="*/ 0 w 427482"/>
                <a:gd name="connsiteY3" fmla="*/ 375466 h 365908"/>
              </a:gdLst>
              <a:ahLst/>
              <a:cxnLst>
                <a:cxn ang="0">
                  <a:pos x="connsiteX0" y="connsiteY0"/>
                </a:cxn>
                <a:cxn ang="0">
                  <a:pos x="connsiteX1" y="connsiteY1"/>
                </a:cxn>
                <a:cxn ang="0">
                  <a:pos x="connsiteX2" y="connsiteY2"/>
                </a:cxn>
                <a:cxn ang="0">
                  <a:pos x="connsiteX3" y="connsiteY3"/>
                </a:cxn>
              </a:cxnLst>
              <a:rect l="l" t="t" r="r" b="b"/>
              <a:pathLst>
                <a:path w="427482" h="365908">
                  <a:moveTo>
                    <a:pt x="0" y="0"/>
                  </a:moveTo>
                  <a:lnTo>
                    <a:pt x="437556" y="0"/>
                  </a:lnTo>
                  <a:lnTo>
                    <a:pt x="437556" y="375466"/>
                  </a:lnTo>
                  <a:lnTo>
                    <a:pt x="0" y="375466"/>
                  </a:lnTo>
                  <a:close/>
                </a:path>
              </a:pathLst>
            </a:custGeom>
            <a:solidFill>
              <a:srgbClr val="FFFFF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9F008923-0380-421C-86D3-D1087C181480}"/>
                </a:ext>
              </a:extLst>
            </p:cNvPr>
            <p:cNvSpPr/>
            <p:nvPr/>
          </p:nvSpPr>
          <p:spPr>
            <a:xfrm>
              <a:off x="9567723" y="4865337"/>
              <a:ext cx="640860" cy="542640"/>
            </a:xfrm>
            <a:custGeom>
              <a:avLst/>
              <a:gdLst>
                <a:gd name="connsiteX0" fmla="*/ 0 w 402336"/>
                <a:gd name="connsiteY0" fmla="*/ 0 h 340673"/>
                <a:gd name="connsiteX1" fmla="*/ 412189 w 402336"/>
                <a:gd name="connsiteY1" fmla="*/ 0 h 340673"/>
                <a:gd name="connsiteX2" fmla="*/ 412189 w 402336"/>
                <a:gd name="connsiteY2" fmla="*/ 350012 h 340673"/>
                <a:gd name="connsiteX3" fmla="*/ 0 w 402336"/>
                <a:gd name="connsiteY3" fmla="*/ 350012 h 340673"/>
              </a:gdLst>
              <a:ahLst/>
              <a:cxnLst>
                <a:cxn ang="0">
                  <a:pos x="connsiteX0" y="connsiteY0"/>
                </a:cxn>
                <a:cxn ang="0">
                  <a:pos x="connsiteX1" y="connsiteY1"/>
                </a:cxn>
                <a:cxn ang="0">
                  <a:pos x="connsiteX2" y="connsiteY2"/>
                </a:cxn>
                <a:cxn ang="0">
                  <a:pos x="connsiteX3" y="connsiteY3"/>
                </a:cxn>
              </a:cxnLst>
              <a:rect l="l" t="t" r="r" b="b"/>
              <a:pathLst>
                <a:path w="402336" h="340673">
                  <a:moveTo>
                    <a:pt x="0" y="0"/>
                  </a:moveTo>
                  <a:lnTo>
                    <a:pt x="412189" y="0"/>
                  </a:lnTo>
                  <a:lnTo>
                    <a:pt x="412189" y="350012"/>
                  </a:lnTo>
                  <a:lnTo>
                    <a:pt x="0" y="350012"/>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D2454B2C-F0FB-405C-B797-885F8D2AD12D}"/>
                </a:ext>
              </a:extLst>
            </p:cNvPr>
            <p:cNvSpPr/>
            <p:nvPr/>
          </p:nvSpPr>
          <p:spPr>
            <a:xfrm>
              <a:off x="9587924" y="4997113"/>
              <a:ext cx="600806" cy="401957"/>
            </a:xfrm>
            <a:custGeom>
              <a:avLst/>
              <a:gdLst>
                <a:gd name="connsiteX0" fmla="*/ 0 w 377190"/>
                <a:gd name="connsiteY0" fmla="*/ 0 h 252350"/>
                <a:gd name="connsiteX1" fmla="*/ 386823 w 377190"/>
                <a:gd name="connsiteY1" fmla="*/ 0 h 252350"/>
                <a:gd name="connsiteX2" fmla="*/ 386823 w 377190"/>
                <a:gd name="connsiteY2" fmla="*/ 254554 h 252350"/>
                <a:gd name="connsiteX3" fmla="*/ 0 w 377190"/>
                <a:gd name="connsiteY3" fmla="*/ 254554 h 252350"/>
              </a:gdLst>
              <a:ahLst/>
              <a:cxnLst>
                <a:cxn ang="0">
                  <a:pos x="connsiteX0" y="connsiteY0"/>
                </a:cxn>
                <a:cxn ang="0">
                  <a:pos x="connsiteX1" y="connsiteY1"/>
                </a:cxn>
                <a:cxn ang="0">
                  <a:pos x="connsiteX2" y="connsiteY2"/>
                </a:cxn>
                <a:cxn ang="0">
                  <a:pos x="connsiteX3" y="connsiteY3"/>
                </a:cxn>
              </a:cxnLst>
              <a:rect l="l" t="t" r="r" b="b"/>
              <a:pathLst>
                <a:path w="377190" h="252350">
                  <a:moveTo>
                    <a:pt x="0" y="0"/>
                  </a:moveTo>
                  <a:lnTo>
                    <a:pt x="386823" y="0"/>
                  </a:lnTo>
                  <a:lnTo>
                    <a:pt x="386823" y="254554"/>
                  </a:lnTo>
                  <a:lnTo>
                    <a:pt x="0" y="254554"/>
                  </a:lnTo>
                  <a:close/>
                </a:path>
              </a:pathLst>
            </a:custGeom>
            <a:solidFill>
              <a:srgbClr val="FFFFF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381DD69-D40D-4886-A51D-21FED48363EE}"/>
                </a:ext>
              </a:extLst>
            </p:cNvPr>
            <p:cNvSpPr/>
            <p:nvPr/>
          </p:nvSpPr>
          <p:spPr>
            <a:xfrm>
              <a:off x="9820244" y="5037659"/>
              <a:ext cx="160215" cy="100490"/>
            </a:xfrm>
            <a:custGeom>
              <a:avLst/>
              <a:gdLst>
                <a:gd name="connsiteX0" fmla="*/ 0 w 100584"/>
                <a:gd name="connsiteY0" fmla="*/ 0 h 63087"/>
                <a:gd name="connsiteX1" fmla="*/ 101462 w 100584"/>
                <a:gd name="connsiteY1" fmla="*/ 0 h 63087"/>
                <a:gd name="connsiteX2" fmla="*/ 101462 w 100584"/>
                <a:gd name="connsiteY2" fmla="*/ 70002 h 63087"/>
                <a:gd name="connsiteX3" fmla="*/ 0 w 100584"/>
                <a:gd name="connsiteY3" fmla="*/ 70002 h 63087"/>
              </a:gdLst>
              <a:ahLst/>
              <a:cxnLst>
                <a:cxn ang="0">
                  <a:pos x="connsiteX0" y="connsiteY0"/>
                </a:cxn>
                <a:cxn ang="0">
                  <a:pos x="connsiteX1" y="connsiteY1"/>
                </a:cxn>
                <a:cxn ang="0">
                  <a:pos x="connsiteX2" y="connsiteY2"/>
                </a:cxn>
                <a:cxn ang="0">
                  <a:pos x="connsiteX3" y="connsiteY3"/>
                </a:cxn>
              </a:cxnLst>
              <a:rect l="l" t="t" r="r" b="b"/>
              <a:pathLst>
                <a:path w="100584" h="63087">
                  <a:moveTo>
                    <a:pt x="0" y="0"/>
                  </a:moveTo>
                  <a:lnTo>
                    <a:pt x="101462" y="0"/>
                  </a:lnTo>
                  <a:lnTo>
                    <a:pt x="101462" y="70002"/>
                  </a:lnTo>
                  <a:lnTo>
                    <a:pt x="0" y="70002"/>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14BFB6F6-98A8-4633-9AE7-6613331AD149}"/>
                </a:ext>
              </a:extLst>
            </p:cNvPr>
            <p:cNvSpPr/>
            <p:nvPr/>
          </p:nvSpPr>
          <p:spPr>
            <a:xfrm>
              <a:off x="965863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DA039AC-04D3-4EB8-8DD5-E27DB593DD77}"/>
                </a:ext>
              </a:extLst>
            </p:cNvPr>
            <p:cNvSpPr/>
            <p:nvPr/>
          </p:nvSpPr>
          <p:spPr>
            <a:xfrm>
              <a:off x="9840446"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5155E342-B7DE-4B06-AD0F-2F4922E096BA}"/>
                </a:ext>
              </a:extLst>
            </p:cNvPr>
            <p:cNvSpPr/>
            <p:nvPr/>
          </p:nvSpPr>
          <p:spPr>
            <a:xfrm>
              <a:off x="1002226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rgbClr val="7F7F7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A3EF13-74BE-4A4E-A8A6-364FC6235F0D}"/>
                </a:ext>
              </a:extLst>
            </p:cNvPr>
            <p:cNvSpPr/>
            <p:nvPr/>
          </p:nvSpPr>
          <p:spPr>
            <a:xfrm>
              <a:off x="9890950" y="5128888"/>
              <a:ext cx="20027" cy="140685"/>
            </a:xfrm>
            <a:custGeom>
              <a:avLst/>
              <a:gdLst>
                <a:gd name="connsiteX0" fmla="*/ 0 w 12573"/>
                <a:gd name="connsiteY0" fmla="*/ 0 h 88322"/>
                <a:gd name="connsiteX1" fmla="*/ 12683 w 12573"/>
                <a:gd name="connsiteY1" fmla="*/ 0 h 88322"/>
                <a:gd name="connsiteX2" fmla="*/ 12683 w 12573"/>
                <a:gd name="connsiteY2" fmla="*/ 95458 h 88322"/>
                <a:gd name="connsiteX3" fmla="*/ 0 w 12573"/>
                <a:gd name="connsiteY3" fmla="*/ 95458 h 88322"/>
              </a:gdLst>
              <a:ahLst/>
              <a:cxnLst>
                <a:cxn ang="0">
                  <a:pos x="connsiteX0" y="connsiteY0"/>
                </a:cxn>
                <a:cxn ang="0">
                  <a:pos x="connsiteX1" y="connsiteY1"/>
                </a:cxn>
                <a:cxn ang="0">
                  <a:pos x="connsiteX2" y="connsiteY2"/>
                </a:cxn>
                <a:cxn ang="0">
                  <a:pos x="connsiteX3" y="connsiteY3"/>
                </a:cxn>
              </a:cxnLst>
              <a:rect l="l" t="t" r="r" b="b"/>
              <a:pathLst>
                <a:path w="12573" h="88322">
                  <a:moveTo>
                    <a:pt x="0" y="0"/>
                  </a:moveTo>
                  <a:lnTo>
                    <a:pt x="12683" y="0"/>
                  </a:lnTo>
                  <a:lnTo>
                    <a:pt x="12683" y="95458"/>
                  </a:lnTo>
                  <a:lnTo>
                    <a:pt x="0" y="95458"/>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9B11E015-3A3A-4A23-8B65-34CF6DE35FDB}"/>
                </a:ext>
              </a:extLst>
            </p:cNvPr>
            <p:cNvSpPr/>
            <p:nvPr/>
          </p:nvSpPr>
          <p:spPr>
            <a:xfrm>
              <a:off x="970913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61665289-2855-4642-ADFC-650571C0CB3C}"/>
                </a:ext>
              </a:extLst>
            </p:cNvPr>
            <p:cNvSpPr/>
            <p:nvPr/>
          </p:nvSpPr>
          <p:spPr>
            <a:xfrm>
              <a:off x="9709134" y="5199846"/>
              <a:ext cx="380511" cy="20099"/>
            </a:xfrm>
            <a:custGeom>
              <a:avLst/>
              <a:gdLst>
                <a:gd name="connsiteX0" fmla="*/ 0 w 238887"/>
                <a:gd name="connsiteY0" fmla="*/ 0 h 12617"/>
                <a:gd name="connsiteX1" fmla="*/ 240973 w 238887"/>
                <a:gd name="connsiteY1" fmla="*/ 0 h 12617"/>
                <a:gd name="connsiteX2" fmla="*/ 240973 w 238887"/>
                <a:gd name="connsiteY2" fmla="*/ 12728 h 12617"/>
                <a:gd name="connsiteX3" fmla="*/ 0 w 238887"/>
                <a:gd name="connsiteY3" fmla="*/ 12728 h 12617"/>
              </a:gdLst>
              <a:ahLst/>
              <a:cxnLst>
                <a:cxn ang="0">
                  <a:pos x="connsiteX0" y="connsiteY0"/>
                </a:cxn>
                <a:cxn ang="0">
                  <a:pos x="connsiteX1" y="connsiteY1"/>
                </a:cxn>
                <a:cxn ang="0">
                  <a:pos x="connsiteX2" y="connsiteY2"/>
                </a:cxn>
                <a:cxn ang="0">
                  <a:pos x="connsiteX3" y="connsiteY3"/>
                </a:cxn>
              </a:cxnLst>
              <a:rect l="l" t="t" r="r" b="b"/>
              <a:pathLst>
                <a:path w="238887" h="12617">
                  <a:moveTo>
                    <a:pt x="0" y="0"/>
                  </a:moveTo>
                  <a:lnTo>
                    <a:pt x="240973" y="0"/>
                  </a:lnTo>
                  <a:lnTo>
                    <a:pt x="240973" y="12728"/>
                  </a:lnTo>
                  <a:lnTo>
                    <a:pt x="0" y="12728"/>
                  </a:ln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6AE1B98-E098-4772-99F7-1515D318BCD4}"/>
                </a:ext>
              </a:extLst>
            </p:cNvPr>
            <p:cNvSpPr/>
            <p:nvPr/>
          </p:nvSpPr>
          <p:spPr>
            <a:xfrm>
              <a:off x="1007276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rgbClr val="7F7F7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272528F-4D06-43F2-A110-0254BFC68EED}"/>
                </a:ext>
              </a:extLst>
            </p:cNvPr>
            <p:cNvSpPr/>
            <p:nvPr/>
          </p:nvSpPr>
          <p:spPr>
            <a:xfrm>
              <a:off x="9921252" y="5118754"/>
              <a:ext cx="440591" cy="442152"/>
            </a:xfrm>
            <a:custGeom>
              <a:avLst/>
              <a:gdLst>
                <a:gd name="connsiteX0" fmla="*/ 285362 w 276606"/>
                <a:gd name="connsiteY0" fmla="*/ 143186 h 277585"/>
                <a:gd name="connsiteX1" fmla="*/ 142681 w 276606"/>
                <a:gd name="connsiteY1" fmla="*/ 286373 h 277585"/>
                <a:gd name="connsiteX2" fmla="*/ 0 w 276606"/>
                <a:gd name="connsiteY2" fmla="*/ 143186 h 277585"/>
                <a:gd name="connsiteX3" fmla="*/ 142681 w 276606"/>
                <a:gd name="connsiteY3" fmla="*/ 0 h 277585"/>
                <a:gd name="connsiteX4" fmla="*/ 285362 w 276606"/>
                <a:gd name="connsiteY4" fmla="*/ 143186 h 27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06" h="277585">
                  <a:moveTo>
                    <a:pt x="285362" y="143186"/>
                  </a:moveTo>
                  <a:cubicBezTo>
                    <a:pt x="285362" y="222266"/>
                    <a:pt x="221481" y="286373"/>
                    <a:pt x="142681" y="286373"/>
                  </a:cubicBezTo>
                  <a:cubicBezTo>
                    <a:pt x="63880" y="286373"/>
                    <a:pt x="0" y="222266"/>
                    <a:pt x="0" y="143186"/>
                  </a:cubicBezTo>
                  <a:cubicBezTo>
                    <a:pt x="0" y="64107"/>
                    <a:pt x="63880" y="0"/>
                    <a:pt x="142681" y="0"/>
                  </a:cubicBezTo>
                  <a:cubicBezTo>
                    <a:pt x="221481" y="0"/>
                    <a:pt x="285362" y="64107"/>
                    <a:pt x="285362" y="143186"/>
                  </a:cubicBezTo>
                  <a:close/>
                </a:path>
              </a:pathLst>
            </a:custGeom>
            <a:solidFill>
              <a:srgbClr val="FFFFFF"/>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176B205-E85B-4EFA-95F8-6CA12C1C4614}"/>
                </a:ext>
              </a:extLst>
            </p:cNvPr>
            <p:cNvSpPr/>
            <p:nvPr/>
          </p:nvSpPr>
          <p:spPr>
            <a:xfrm>
              <a:off x="9942716" y="5140212"/>
              <a:ext cx="400538" cy="401957"/>
            </a:xfrm>
            <a:custGeom>
              <a:avLst/>
              <a:gdLst>
                <a:gd name="connsiteX0" fmla="*/ 129628 w 251460"/>
                <a:gd name="connsiteY0" fmla="*/ 0 h 252350"/>
                <a:gd name="connsiteX1" fmla="*/ 0 w 251460"/>
                <a:gd name="connsiteY1" fmla="*/ 130087 h 252350"/>
                <a:gd name="connsiteX2" fmla="*/ 129628 w 251460"/>
                <a:gd name="connsiteY2" fmla="*/ 260174 h 252350"/>
                <a:gd name="connsiteX3" fmla="*/ 259255 w 251460"/>
                <a:gd name="connsiteY3" fmla="*/ 130087 h 252350"/>
                <a:gd name="connsiteX4" fmla="*/ 129628 w 251460"/>
                <a:gd name="connsiteY4" fmla="*/ 0 h 252350"/>
                <a:gd name="connsiteX5" fmla="*/ 129628 w 251460"/>
                <a:gd name="connsiteY5" fmla="*/ 247682 h 252350"/>
                <a:gd name="connsiteX6" fmla="*/ 91029 w 251460"/>
                <a:gd name="connsiteY6" fmla="*/ 191282 h 252350"/>
                <a:gd name="connsiteX7" fmla="*/ 129628 w 251460"/>
                <a:gd name="connsiteY7" fmla="*/ 188380 h 252350"/>
                <a:gd name="connsiteX8" fmla="*/ 168101 w 251460"/>
                <a:gd name="connsiteY8" fmla="*/ 191282 h 252350"/>
                <a:gd name="connsiteX9" fmla="*/ 129628 w 251460"/>
                <a:gd name="connsiteY9" fmla="*/ 247682 h 252350"/>
                <a:gd name="connsiteX10" fmla="*/ 129628 w 251460"/>
                <a:gd name="connsiteY10" fmla="*/ 175888 h 252350"/>
                <a:gd name="connsiteX11" fmla="*/ 88388 w 251460"/>
                <a:gd name="connsiteY11" fmla="*/ 179043 h 252350"/>
                <a:gd name="connsiteX12" fmla="*/ 84113 w 251460"/>
                <a:gd name="connsiteY12" fmla="*/ 132863 h 252350"/>
                <a:gd name="connsiteX13" fmla="*/ 175142 w 251460"/>
                <a:gd name="connsiteY13" fmla="*/ 132863 h 252350"/>
                <a:gd name="connsiteX14" fmla="*/ 170867 w 251460"/>
                <a:gd name="connsiteY14" fmla="*/ 179043 h 252350"/>
                <a:gd name="connsiteX15" fmla="*/ 129628 w 251460"/>
                <a:gd name="connsiteY15" fmla="*/ 175888 h 252350"/>
                <a:gd name="connsiteX16" fmla="*/ 129628 w 251460"/>
                <a:gd name="connsiteY16" fmla="*/ 12618 h 252350"/>
                <a:gd name="connsiteX17" fmla="*/ 167221 w 251460"/>
                <a:gd name="connsiteY17" fmla="*/ 65359 h 252350"/>
                <a:gd name="connsiteX18" fmla="*/ 129628 w 251460"/>
                <a:gd name="connsiteY18" fmla="*/ 68261 h 252350"/>
                <a:gd name="connsiteX19" fmla="*/ 92034 w 251460"/>
                <a:gd name="connsiteY19" fmla="*/ 65359 h 252350"/>
                <a:gd name="connsiteX20" fmla="*/ 129628 w 251460"/>
                <a:gd name="connsiteY20" fmla="*/ 12618 h 252350"/>
                <a:gd name="connsiteX21" fmla="*/ 129628 w 251460"/>
                <a:gd name="connsiteY21" fmla="*/ 80752 h 252350"/>
                <a:gd name="connsiteX22" fmla="*/ 170113 w 251460"/>
                <a:gd name="connsiteY22" fmla="*/ 77598 h 252350"/>
                <a:gd name="connsiteX23" fmla="*/ 175016 w 251460"/>
                <a:gd name="connsiteY23" fmla="*/ 120119 h 252350"/>
                <a:gd name="connsiteX24" fmla="*/ 84113 w 251460"/>
                <a:gd name="connsiteY24" fmla="*/ 120119 h 252350"/>
                <a:gd name="connsiteX25" fmla="*/ 89143 w 251460"/>
                <a:gd name="connsiteY25" fmla="*/ 77598 h 252350"/>
                <a:gd name="connsiteX26" fmla="*/ 129628 w 251460"/>
                <a:gd name="connsiteY26" fmla="*/ 80752 h 252350"/>
                <a:gd name="connsiteX27" fmla="*/ 71666 w 251460"/>
                <a:gd name="connsiteY27" fmla="*/ 120119 h 252350"/>
                <a:gd name="connsiteX28" fmla="*/ 11944 w 251460"/>
                <a:gd name="connsiteY28" fmla="*/ 120119 h 252350"/>
                <a:gd name="connsiteX29" fmla="*/ 34953 w 251460"/>
                <a:gd name="connsiteY29" fmla="*/ 61195 h 252350"/>
                <a:gd name="connsiteX30" fmla="*/ 76821 w 251460"/>
                <a:gd name="connsiteY30" fmla="*/ 75327 h 252350"/>
                <a:gd name="connsiteX31" fmla="*/ 71666 w 251460"/>
                <a:gd name="connsiteY31" fmla="*/ 120119 h 252350"/>
                <a:gd name="connsiteX32" fmla="*/ 71666 w 251460"/>
                <a:gd name="connsiteY32" fmla="*/ 132863 h 252350"/>
                <a:gd name="connsiteX33" fmla="*/ 76067 w 251460"/>
                <a:gd name="connsiteY33" fmla="*/ 181314 h 252350"/>
                <a:gd name="connsiteX34" fmla="*/ 32313 w 251460"/>
                <a:gd name="connsiteY34" fmla="*/ 195572 h 252350"/>
                <a:gd name="connsiteX35" fmla="*/ 12699 w 251460"/>
                <a:gd name="connsiteY35" fmla="*/ 132863 h 252350"/>
                <a:gd name="connsiteX36" fmla="*/ 71666 w 251460"/>
                <a:gd name="connsiteY36" fmla="*/ 132863 h 252350"/>
                <a:gd name="connsiteX37" fmla="*/ 187589 w 251460"/>
                <a:gd name="connsiteY37" fmla="*/ 132863 h 252350"/>
                <a:gd name="connsiteX38" fmla="*/ 246431 w 251460"/>
                <a:gd name="connsiteY38" fmla="*/ 132863 h 252350"/>
                <a:gd name="connsiteX39" fmla="*/ 226943 w 251460"/>
                <a:gd name="connsiteY39" fmla="*/ 195446 h 252350"/>
                <a:gd name="connsiteX40" fmla="*/ 183189 w 251460"/>
                <a:gd name="connsiteY40" fmla="*/ 181188 h 252350"/>
                <a:gd name="connsiteX41" fmla="*/ 187589 w 251460"/>
                <a:gd name="connsiteY41" fmla="*/ 132863 h 252350"/>
                <a:gd name="connsiteX42" fmla="*/ 187463 w 251460"/>
                <a:gd name="connsiteY42" fmla="*/ 120119 h 252350"/>
                <a:gd name="connsiteX43" fmla="*/ 182434 w 251460"/>
                <a:gd name="connsiteY43" fmla="*/ 75327 h 252350"/>
                <a:gd name="connsiteX44" fmla="*/ 224177 w 251460"/>
                <a:gd name="connsiteY44" fmla="*/ 61195 h 252350"/>
                <a:gd name="connsiteX45" fmla="*/ 246305 w 251460"/>
                <a:gd name="connsiteY45" fmla="*/ 120119 h 252350"/>
                <a:gd name="connsiteX46" fmla="*/ 187463 w 251460"/>
                <a:gd name="connsiteY46" fmla="*/ 120119 h 252350"/>
                <a:gd name="connsiteX47" fmla="*/ 216130 w 251460"/>
                <a:gd name="connsiteY47" fmla="*/ 51101 h 252350"/>
                <a:gd name="connsiteX48" fmla="*/ 179542 w 251460"/>
                <a:gd name="connsiteY48" fmla="*/ 63088 h 252350"/>
                <a:gd name="connsiteX49" fmla="*/ 158043 w 251460"/>
                <a:gd name="connsiteY49" fmla="*/ 16277 h 252350"/>
                <a:gd name="connsiteX50" fmla="*/ 216130 w 251460"/>
                <a:gd name="connsiteY50" fmla="*/ 51101 h 252350"/>
                <a:gd name="connsiteX51" fmla="*/ 101213 w 251460"/>
                <a:gd name="connsiteY51" fmla="*/ 16277 h 252350"/>
                <a:gd name="connsiteX52" fmla="*/ 79587 w 251460"/>
                <a:gd name="connsiteY52" fmla="*/ 63088 h 252350"/>
                <a:gd name="connsiteX53" fmla="*/ 43125 w 251460"/>
                <a:gd name="connsiteY53" fmla="*/ 51101 h 252350"/>
                <a:gd name="connsiteX54" fmla="*/ 101213 w 251460"/>
                <a:gd name="connsiteY54" fmla="*/ 16277 h 252350"/>
                <a:gd name="connsiteX55" fmla="*/ 40108 w 251460"/>
                <a:gd name="connsiteY55" fmla="*/ 205666 h 252350"/>
                <a:gd name="connsiteX56" fmla="*/ 78707 w 251460"/>
                <a:gd name="connsiteY56" fmla="*/ 193427 h 252350"/>
                <a:gd name="connsiteX57" fmla="*/ 101213 w 251460"/>
                <a:gd name="connsiteY57" fmla="*/ 244023 h 252350"/>
                <a:gd name="connsiteX58" fmla="*/ 40108 w 251460"/>
                <a:gd name="connsiteY58" fmla="*/ 205666 h 252350"/>
                <a:gd name="connsiteX59" fmla="*/ 158043 w 251460"/>
                <a:gd name="connsiteY59" fmla="*/ 244023 h 252350"/>
                <a:gd name="connsiteX60" fmla="*/ 180548 w 251460"/>
                <a:gd name="connsiteY60" fmla="*/ 193427 h 252350"/>
                <a:gd name="connsiteX61" fmla="*/ 219273 w 251460"/>
                <a:gd name="connsiteY61" fmla="*/ 205666 h 252350"/>
                <a:gd name="connsiteX62" fmla="*/ 158043 w 251460"/>
                <a:gd name="connsiteY62" fmla="*/ 244023 h 25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1460" h="252350">
                  <a:moveTo>
                    <a:pt x="129628" y="0"/>
                  </a:moveTo>
                  <a:cubicBezTo>
                    <a:pt x="58087" y="0"/>
                    <a:pt x="0" y="58419"/>
                    <a:pt x="0" y="130087"/>
                  </a:cubicBezTo>
                  <a:cubicBezTo>
                    <a:pt x="0" y="201880"/>
                    <a:pt x="58087" y="260174"/>
                    <a:pt x="129628" y="260174"/>
                  </a:cubicBezTo>
                  <a:cubicBezTo>
                    <a:pt x="201042" y="260174"/>
                    <a:pt x="259255" y="201880"/>
                    <a:pt x="259255" y="130087"/>
                  </a:cubicBezTo>
                  <a:cubicBezTo>
                    <a:pt x="259255" y="58419"/>
                    <a:pt x="201042" y="0"/>
                    <a:pt x="129628" y="0"/>
                  </a:cubicBezTo>
                  <a:close/>
                  <a:moveTo>
                    <a:pt x="129628" y="247682"/>
                  </a:moveTo>
                  <a:cubicBezTo>
                    <a:pt x="115169" y="247682"/>
                    <a:pt x="99830" y="226106"/>
                    <a:pt x="91029" y="191282"/>
                  </a:cubicBezTo>
                  <a:cubicBezTo>
                    <a:pt x="103602" y="189389"/>
                    <a:pt x="116677" y="188380"/>
                    <a:pt x="129628" y="188380"/>
                  </a:cubicBezTo>
                  <a:cubicBezTo>
                    <a:pt x="142578" y="188380"/>
                    <a:pt x="155654" y="189389"/>
                    <a:pt x="168101" y="191282"/>
                  </a:cubicBezTo>
                  <a:cubicBezTo>
                    <a:pt x="159426" y="226106"/>
                    <a:pt x="143961" y="247682"/>
                    <a:pt x="129628" y="247682"/>
                  </a:cubicBezTo>
                  <a:close/>
                  <a:moveTo>
                    <a:pt x="129628" y="175888"/>
                  </a:moveTo>
                  <a:cubicBezTo>
                    <a:pt x="115797" y="175888"/>
                    <a:pt x="101716" y="177024"/>
                    <a:pt x="88388" y="179043"/>
                  </a:cubicBezTo>
                  <a:cubicBezTo>
                    <a:pt x="85874" y="165794"/>
                    <a:pt x="84365" y="149013"/>
                    <a:pt x="84113" y="132863"/>
                  </a:cubicBezTo>
                  <a:lnTo>
                    <a:pt x="175142" y="132863"/>
                  </a:lnTo>
                  <a:cubicBezTo>
                    <a:pt x="174890" y="148887"/>
                    <a:pt x="173382" y="165668"/>
                    <a:pt x="170867" y="179043"/>
                  </a:cubicBezTo>
                  <a:cubicBezTo>
                    <a:pt x="157414" y="177024"/>
                    <a:pt x="143458" y="175888"/>
                    <a:pt x="129628" y="175888"/>
                  </a:cubicBezTo>
                  <a:close/>
                  <a:moveTo>
                    <a:pt x="129628" y="12618"/>
                  </a:moveTo>
                  <a:cubicBezTo>
                    <a:pt x="143458" y="12618"/>
                    <a:pt x="158294" y="32679"/>
                    <a:pt x="167221" y="65359"/>
                  </a:cubicBezTo>
                  <a:cubicBezTo>
                    <a:pt x="155025" y="67251"/>
                    <a:pt x="142326" y="68261"/>
                    <a:pt x="129628" y="68261"/>
                  </a:cubicBezTo>
                  <a:cubicBezTo>
                    <a:pt x="116929" y="68261"/>
                    <a:pt x="104230" y="67251"/>
                    <a:pt x="92034" y="65359"/>
                  </a:cubicBezTo>
                  <a:cubicBezTo>
                    <a:pt x="100835" y="32679"/>
                    <a:pt x="115672" y="12618"/>
                    <a:pt x="129628" y="12618"/>
                  </a:cubicBezTo>
                  <a:close/>
                  <a:moveTo>
                    <a:pt x="129628" y="80752"/>
                  </a:moveTo>
                  <a:cubicBezTo>
                    <a:pt x="143458" y="80752"/>
                    <a:pt x="157037" y="79617"/>
                    <a:pt x="170113" y="77598"/>
                  </a:cubicBezTo>
                  <a:cubicBezTo>
                    <a:pt x="172879" y="90972"/>
                    <a:pt x="174639" y="103842"/>
                    <a:pt x="175016" y="120119"/>
                  </a:cubicBezTo>
                  <a:lnTo>
                    <a:pt x="84113" y="120119"/>
                  </a:lnTo>
                  <a:cubicBezTo>
                    <a:pt x="84616" y="103842"/>
                    <a:pt x="86377" y="90972"/>
                    <a:pt x="89143" y="77598"/>
                  </a:cubicBezTo>
                  <a:cubicBezTo>
                    <a:pt x="102093" y="79617"/>
                    <a:pt x="115797" y="80752"/>
                    <a:pt x="129628" y="80752"/>
                  </a:cubicBezTo>
                  <a:close/>
                  <a:moveTo>
                    <a:pt x="71666" y="120119"/>
                  </a:moveTo>
                  <a:lnTo>
                    <a:pt x="11944" y="120119"/>
                  </a:lnTo>
                  <a:cubicBezTo>
                    <a:pt x="13453" y="97407"/>
                    <a:pt x="22380" y="78607"/>
                    <a:pt x="34953" y="61195"/>
                  </a:cubicBezTo>
                  <a:cubicBezTo>
                    <a:pt x="47023" y="67251"/>
                    <a:pt x="61231" y="72046"/>
                    <a:pt x="76821" y="75327"/>
                  </a:cubicBezTo>
                  <a:cubicBezTo>
                    <a:pt x="73929" y="89711"/>
                    <a:pt x="72169" y="103338"/>
                    <a:pt x="71666" y="120119"/>
                  </a:cubicBezTo>
                  <a:close/>
                  <a:moveTo>
                    <a:pt x="71666" y="132863"/>
                  </a:moveTo>
                  <a:cubicBezTo>
                    <a:pt x="71918" y="149392"/>
                    <a:pt x="73301" y="167056"/>
                    <a:pt x="76067" y="181314"/>
                  </a:cubicBezTo>
                  <a:cubicBezTo>
                    <a:pt x="59470" y="184721"/>
                    <a:pt x="44383" y="189515"/>
                    <a:pt x="32313" y="195572"/>
                  </a:cubicBezTo>
                  <a:cubicBezTo>
                    <a:pt x="20620" y="178033"/>
                    <a:pt x="13579" y="155322"/>
                    <a:pt x="12699" y="132863"/>
                  </a:cubicBezTo>
                  <a:lnTo>
                    <a:pt x="71666" y="132863"/>
                  </a:lnTo>
                  <a:close/>
                  <a:moveTo>
                    <a:pt x="187589" y="132863"/>
                  </a:moveTo>
                  <a:lnTo>
                    <a:pt x="246431" y="132863"/>
                  </a:lnTo>
                  <a:cubicBezTo>
                    <a:pt x="245551" y="155196"/>
                    <a:pt x="238636" y="177907"/>
                    <a:pt x="226943" y="195446"/>
                  </a:cubicBezTo>
                  <a:cubicBezTo>
                    <a:pt x="214873" y="189389"/>
                    <a:pt x="199785" y="184595"/>
                    <a:pt x="183189" y="181188"/>
                  </a:cubicBezTo>
                  <a:cubicBezTo>
                    <a:pt x="185829" y="166930"/>
                    <a:pt x="187338" y="149392"/>
                    <a:pt x="187589" y="132863"/>
                  </a:cubicBezTo>
                  <a:close/>
                  <a:moveTo>
                    <a:pt x="187463" y="120119"/>
                  </a:moveTo>
                  <a:cubicBezTo>
                    <a:pt x="187086" y="103338"/>
                    <a:pt x="185326" y="89711"/>
                    <a:pt x="182434" y="75327"/>
                  </a:cubicBezTo>
                  <a:cubicBezTo>
                    <a:pt x="197899" y="72046"/>
                    <a:pt x="212107" y="67251"/>
                    <a:pt x="224177" y="61195"/>
                  </a:cubicBezTo>
                  <a:cubicBezTo>
                    <a:pt x="236875" y="78607"/>
                    <a:pt x="244796" y="97407"/>
                    <a:pt x="246305" y="120119"/>
                  </a:cubicBezTo>
                  <a:lnTo>
                    <a:pt x="187463" y="120119"/>
                  </a:lnTo>
                  <a:close/>
                  <a:moveTo>
                    <a:pt x="216130" y="51101"/>
                  </a:moveTo>
                  <a:cubicBezTo>
                    <a:pt x="205443" y="56148"/>
                    <a:pt x="193121" y="60186"/>
                    <a:pt x="179542" y="63088"/>
                  </a:cubicBezTo>
                  <a:cubicBezTo>
                    <a:pt x="174388" y="43404"/>
                    <a:pt x="166969" y="27254"/>
                    <a:pt x="158043" y="16277"/>
                  </a:cubicBezTo>
                  <a:cubicBezTo>
                    <a:pt x="180800" y="21954"/>
                    <a:pt x="200791" y="34320"/>
                    <a:pt x="216130" y="51101"/>
                  </a:cubicBezTo>
                  <a:close/>
                  <a:moveTo>
                    <a:pt x="101213" y="16277"/>
                  </a:moveTo>
                  <a:cubicBezTo>
                    <a:pt x="92160" y="27254"/>
                    <a:pt x="84868" y="43404"/>
                    <a:pt x="79587" y="63088"/>
                  </a:cubicBezTo>
                  <a:cubicBezTo>
                    <a:pt x="66134" y="60186"/>
                    <a:pt x="53687" y="56148"/>
                    <a:pt x="43125" y="51101"/>
                  </a:cubicBezTo>
                  <a:cubicBezTo>
                    <a:pt x="58339" y="34320"/>
                    <a:pt x="78456" y="21954"/>
                    <a:pt x="101213" y="16277"/>
                  </a:cubicBezTo>
                  <a:close/>
                  <a:moveTo>
                    <a:pt x="40108" y="205666"/>
                  </a:moveTo>
                  <a:cubicBezTo>
                    <a:pt x="50921" y="200619"/>
                    <a:pt x="64122" y="196455"/>
                    <a:pt x="78707" y="193427"/>
                  </a:cubicBezTo>
                  <a:cubicBezTo>
                    <a:pt x="83862" y="214750"/>
                    <a:pt x="91657" y="232289"/>
                    <a:pt x="101213" y="244023"/>
                  </a:cubicBezTo>
                  <a:cubicBezTo>
                    <a:pt x="76947" y="237841"/>
                    <a:pt x="55698" y="224340"/>
                    <a:pt x="40108" y="205666"/>
                  </a:cubicBezTo>
                  <a:close/>
                  <a:moveTo>
                    <a:pt x="158043" y="244023"/>
                  </a:moveTo>
                  <a:cubicBezTo>
                    <a:pt x="167598" y="232289"/>
                    <a:pt x="175393" y="214750"/>
                    <a:pt x="180548" y="193427"/>
                  </a:cubicBezTo>
                  <a:cubicBezTo>
                    <a:pt x="195133" y="196455"/>
                    <a:pt x="208335" y="200619"/>
                    <a:pt x="219273" y="205666"/>
                  </a:cubicBezTo>
                  <a:cubicBezTo>
                    <a:pt x="203557" y="224214"/>
                    <a:pt x="182309" y="237841"/>
                    <a:pt x="158043" y="244023"/>
                  </a:cubicBezTo>
                  <a:close/>
                </a:path>
              </a:pathLst>
            </a:custGeom>
            <a:solidFill>
              <a:schemeClr val="accent1"/>
            </a:solidFill>
            <a:ln w="9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 name="TextBox 34">
            <a:extLst>
              <a:ext uri="{FF2B5EF4-FFF2-40B4-BE49-F238E27FC236}">
                <a16:creationId xmlns:a16="http://schemas.microsoft.com/office/drawing/2014/main" id="{583BDCBF-9C43-4FFD-AA9C-290AEFA303AA}"/>
              </a:ext>
            </a:extLst>
          </p:cNvPr>
          <p:cNvSpPr txBox="1"/>
          <p:nvPr/>
        </p:nvSpPr>
        <p:spPr>
          <a:xfrm>
            <a:off x="194678" y="5934751"/>
            <a:ext cx="11775113" cy="738664"/>
          </a:xfrm>
          <a:prstGeom prst="rect">
            <a:avLst/>
          </a:prstGeom>
          <a:noFill/>
        </p:spPr>
        <p:txBody>
          <a:bodyPr wrap="square" lIns="182880" tIns="146304" rIns="182880" bIns="146304" rtlCol="0">
            <a:spAutoFit/>
          </a:bodyPr>
          <a:lstStyle/>
          <a:p>
            <a:pPr>
              <a:lnSpc>
                <a:spcPct val="90000"/>
              </a:lnSpc>
              <a:spcAft>
                <a:spcPts val="600"/>
              </a:spcAft>
            </a:pP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Sarah</a:t>
            </a:r>
            <a:b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br>
            <a:r>
              <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  Lean 											         @</a:t>
            </a:r>
            <a:r>
              <a:rPr lang="en-GB" sz="1600" dirty="0" err="1">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rPr>
              <a:t>Techielass</a:t>
            </a:r>
            <a:endParaRPr lang="en-GB" sz="1600" dirty="0">
              <a:gradFill>
                <a:gsLst>
                  <a:gs pos="2917">
                    <a:schemeClr val="tx1"/>
                  </a:gs>
                  <a:gs pos="30000">
                    <a:schemeClr val="tx1"/>
                  </a:gs>
                </a:gsLst>
                <a:lin ang="5400000" scaled="0"/>
              </a:gradFill>
              <a:latin typeface="Arial Nova Cond Light" panose="020B0604020202020204" pitchFamily="34" charset="0"/>
              <a:cs typeface="Aparajita" panose="020B0502040204020203" pitchFamily="18" charset="0"/>
            </a:endParaRPr>
          </a:p>
        </p:txBody>
      </p:sp>
    </p:spTree>
    <p:extLst>
      <p:ext uri="{BB962C8B-B14F-4D97-AF65-F5344CB8AC3E}">
        <p14:creationId xmlns:p14="http://schemas.microsoft.com/office/powerpoint/2010/main" val="3728814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additive="base">
                                        <p:cTn id="27" dur="500" fill="hold"/>
                                        <p:tgtEl>
                                          <p:spTgt spid="3"/>
                                        </p:tgtEl>
                                        <p:attrNameLst>
                                          <p:attrName>ppt_x</p:attrName>
                                        </p:attrNameLst>
                                      </p:cBhvr>
                                      <p:tavLst>
                                        <p:tav tm="0">
                                          <p:val>
                                            <p:strVal val="#ppt_x"/>
                                          </p:val>
                                        </p:tav>
                                        <p:tav tm="100000">
                                          <p:val>
                                            <p:strVal val="#ppt_x"/>
                                          </p:val>
                                        </p:tav>
                                      </p:tavLst>
                                    </p:anim>
                                    <p:anim calcmode="lin" valueType="num">
                                      <p:cBhvr additive="base">
                                        <p:cTn id="28" dur="500" fill="hold"/>
                                        <p:tgtEl>
                                          <p:spTgt spid="3"/>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additive="base">
                                        <p:cTn id="35" dur="500" fill="hold"/>
                                        <p:tgtEl>
                                          <p:spTgt spid="23"/>
                                        </p:tgtEl>
                                        <p:attrNameLst>
                                          <p:attrName>ppt_x</p:attrName>
                                        </p:attrNameLst>
                                      </p:cBhvr>
                                      <p:tavLst>
                                        <p:tav tm="0">
                                          <p:val>
                                            <p:strVal val="#ppt_x"/>
                                          </p:val>
                                        </p:tav>
                                        <p:tav tm="100000">
                                          <p:val>
                                            <p:strVal val="#ppt_x"/>
                                          </p:val>
                                        </p:tav>
                                      </p:tavLst>
                                    </p:anim>
                                    <p:anim calcmode="lin" valueType="num">
                                      <p:cBhvr additive="base">
                                        <p:cTn id="36" dur="500" fill="hold"/>
                                        <p:tgtEl>
                                          <p:spTgt spid="23"/>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30"/>
                                        </p:tgtEl>
                                        <p:attrNameLst>
                                          <p:attrName>style.visibility</p:attrName>
                                        </p:attrNameLst>
                                      </p:cBhvr>
                                      <p:to>
                                        <p:strVal val="visible"/>
                                      </p:to>
                                    </p:set>
                                    <p:anim calcmode="lin" valueType="num">
                                      <p:cBhvr additive="base">
                                        <p:cTn id="39" dur="500" fill="hold"/>
                                        <p:tgtEl>
                                          <p:spTgt spid="30"/>
                                        </p:tgtEl>
                                        <p:attrNameLst>
                                          <p:attrName>ppt_x</p:attrName>
                                        </p:attrNameLst>
                                      </p:cBhvr>
                                      <p:tavLst>
                                        <p:tav tm="0">
                                          <p:val>
                                            <p:strVal val="#ppt_x"/>
                                          </p:val>
                                        </p:tav>
                                        <p:tav tm="100000">
                                          <p:val>
                                            <p:strVal val="#ppt_x"/>
                                          </p:val>
                                        </p:tav>
                                      </p:tavLst>
                                    </p:anim>
                                    <p:anim calcmode="lin" valueType="num">
                                      <p:cBhvr additive="base">
                                        <p:cTn id="40" dur="500" fill="hold"/>
                                        <p:tgtEl>
                                          <p:spTgt spid="30"/>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32"/>
                                        </p:tgtEl>
                                        <p:attrNameLst>
                                          <p:attrName>style.visibility</p:attrName>
                                        </p:attrNameLst>
                                      </p:cBhvr>
                                      <p:to>
                                        <p:strVal val="visible"/>
                                      </p:to>
                                    </p:set>
                                    <p:anim calcmode="lin" valueType="num">
                                      <p:cBhvr additive="base">
                                        <p:cTn id="43" dur="500" fill="hold"/>
                                        <p:tgtEl>
                                          <p:spTgt spid="32"/>
                                        </p:tgtEl>
                                        <p:attrNameLst>
                                          <p:attrName>ppt_x</p:attrName>
                                        </p:attrNameLst>
                                      </p:cBhvr>
                                      <p:tavLst>
                                        <p:tav tm="0">
                                          <p:val>
                                            <p:strVal val="#ppt_x"/>
                                          </p:val>
                                        </p:tav>
                                        <p:tav tm="100000">
                                          <p:val>
                                            <p:strVal val="#ppt_x"/>
                                          </p:val>
                                        </p:tav>
                                      </p:tavLst>
                                    </p:anim>
                                    <p:anim calcmode="lin" valueType="num">
                                      <p:cBhvr additive="base">
                                        <p:cTn id="44" dur="500" fill="hold"/>
                                        <p:tgtEl>
                                          <p:spTgt spid="32"/>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34"/>
                                        </p:tgtEl>
                                        <p:attrNameLst>
                                          <p:attrName>style.visibility</p:attrName>
                                        </p:attrNameLst>
                                      </p:cBhvr>
                                      <p:to>
                                        <p:strVal val="visible"/>
                                      </p:to>
                                    </p:set>
                                    <p:anim calcmode="lin" valueType="num">
                                      <p:cBhvr additive="base">
                                        <p:cTn id="47" dur="500" fill="hold"/>
                                        <p:tgtEl>
                                          <p:spTgt spid="34"/>
                                        </p:tgtEl>
                                        <p:attrNameLst>
                                          <p:attrName>ppt_x</p:attrName>
                                        </p:attrNameLst>
                                      </p:cBhvr>
                                      <p:tavLst>
                                        <p:tav tm="0">
                                          <p:val>
                                            <p:strVal val="#ppt_x"/>
                                          </p:val>
                                        </p:tav>
                                        <p:tav tm="100000">
                                          <p:val>
                                            <p:strVal val="#ppt_x"/>
                                          </p:val>
                                        </p:tav>
                                      </p:tavLst>
                                    </p:anim>
                                    <p:anim calcmode="lin" valueType="num">
                                      <p:cBhvr additive="base">
                                        <p:cTn id="48" dur="500" fill="hold"/>
                                        <p:tgtEl>
                                          <p:spTgt spid="34"/>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500" fill="hold"/>
                                        <p:tgtEl>
                                          <p:spTgt spid="11"/>
                                        </p:tgtEl>
                                        <p:attrNameLst>
                                          <p:attrName>ppt_x</p:attrName>
                                        </p:attrNameLst>
                                      </p:cBhvr>
                                      <p:tavLst>
                                        <p:tav tm="0">
                                          <p:val>
                                            <p:strVal val="#ppt_x"/>
                                          </p:val>
                                        </p:tav>
                                        <p:tav tm="100000">
                                          <p:val>
                                            <p:strVal val="#ppt_x"/>
                                          </p:val>
                                        </p:tav>
                                      </p:tavLst>
                                    </p:anim>
                                    <p:anim calcmode="lin" valueType="num">
                                      <p:cBhvr additive="base">
                                        <p:cTn id="52" dur="500" fill="hold"/>
                                        <p:tgtEl>
                                          <p:spTgt spid="11"/>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10"/>
                                        </p:tgtEl>
                                        <p:attrNameLst>
                                          <p:attrName>style.visibility</p:attrName>
                                        </p:attrNameLst>
                                      </p:cBhvr>
                                      <p:to>
                                        <p:strVal val="visible"/>
                                      </p:to>
                                    </p:set>
                                    <p:anim calcmode="lin" valueType="num">
                                      <p:cBhvr additive="base">
                                        <p:cTn id="55" dur="500" fill="hold"/>
                                        <p:tgtEl>
                                          <p:spTgt spid="10"/>
                                        </p:tgtEl>
                                        <p:attrNameLst>
                                          <p:attrName>ppt_x</p:attrName>
                                        </p:attrNameLst>
                                      </p:cBhvr>
                                      <p:tavLst>
                                        <p:tav tm="0">
                                          <p:val>
                                            <p:strVal val="#ppt_x"/>
                                          </p:val>
                                        </p:tav>
                                        <p:tav tm="100000">
                                          <p:val>
                                            <p:strVal val="#ppt_x"/>
                                          </p:val>
                                        </p:tav>
                                      </p:tavLst>
                                    </p:anim>
                                    <p:anim calcmode="lin" valueType="num">
                                      <p:cBhvr additive="base">
                                        <p:cTn id="56" dur="500" fill="hold"/>
                                        <p:tgtEl>
                                          <p:spTgt spid="1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44"/>
                                        </p:tgtEl>
                                        <p:attrNameLst>
                                          <p:attrName>style.visibility</p:attrName>
                                        </p:attrNameLst>
                                      </p:cBhvr>
                                      <p:to>
                                        <p:strVal val="visible"/>
                                      </p:to>
                                    </p:set>
                                    <p:anim calcmode="lin" valueType="num">
                                      <p:cBhvr additive="base">
                                        <p:cTn id="59" dur="500" fill="hold"/>
                                        <p:tgtEl>
                                          <p:spTgt spid="44"/>
                                        </p:tgtEl>
                                        <p:attrNameLst>
                                          <p:attrName>ppt_x</p:attrName>
                                        </p:attrNameLst>
                                      </p:cBhvr>
                                      <p:tavLst>
                                        <p:tav tm="0">
                                          <p:val>
                                            <p:strVal val="#ppt_x"/>
                                          </p:val>
                                        </p:tav>
                                        <p:tav tm="100000">
                                          <p:val>
                                            <p:strVal val="#ppt_x"/>
                                          </p:val>
                                        </p:tav>
                                      </p:tavLst>
                                    </p:anim>
                                    <p:anim calcmode="lin" valueType="num">
                                      <p:cBhvr additive="base">
                                        <p:cTn id="60" dur="500" fill="hold"/>
                                        <p:tgtEl>
                                          <p:spTgt spid="44"/>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61"/>
                                        </p:tgtEl>
                                        <p:attrNameLst>
                                          <p:attrName>style.visibility</p:attrName>
                                        </p:attrNameLst>
                                      </p:cBhvr>
                                      <p:to>
                                        <p:strVal val="visible"/>
                                      </p:to>
                                    </p:set>
                                    <p:anim calcmode="lin" valueType="num">
                                      <p:cBhvr additive="base">
                                        <p:cTn id="63" dur="500" fill="hold"/>
                                        <p:tgtEl>
                                          <p:spTgt spid="61"/>
                                        </p:tgtEl>
                                        <p:attrNameLst>
                                          <p:attrName>ppt_x</p:attrName>
                                        </p:attrNameLst>
                                      </p:cBhvr>
                                      <p:tavLst>
                                        <p:tav tm="0">
                                          <p:val>
                                            <p:strVal val="#ppt_x"/>
                                          </p:val>
                                        </p:tav>
                                        <p:tav tm="100000">
                                          <p:val>
                                            <p:strVal val="#ppt_x"/>
                                          </p:val>
                                        </p:tav>
                                      </p:tavLst>
                                    </p:anim>
                                    <p:anim calcmode="lin" valueType="num">
                                      <p:cBhvr additive="base">
                                        <p:cTn id="64"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7" grpId="0"/>
      <p:bldP spid="8" grpId="0"/>
      <p:bldP spid="9" grpId="0"/>
      <p:bldP spid="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DF40E4A2-A1CB-4B9F-9C8F-4FA079C91F3E}" vid="{87850380-4AD9-4240-BBE8-3BB34B321576}"/>
    </a:ext>
  </a:extLst>
</a:theme>
</file>

<file path=ppt/theme/theme10.xml><?xml version="1.0" encoding="utf-8"?>
<a:theme xmlns:a="http://schemas.openxmlformats.org/drawingml/2006/main" name="2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1.xml><?xml version="1.0" encoding="utf-8"?>
<a:theme xmlns:a="http://schemas.openxmlformats.org/drawingml/2006/main" name="3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12.xml><?xml version="1.0" encoding="utf-8"?>
<a:theme xmlns:a="http://schemas.openxmlformats.org/drawingml/2006/main" name="Azure PPT 2018Q1 Light">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Microservices-Webinar" id="{F55E0B57-778C-DC48-9763-8D25AE6884E8}" vid="{45F97562-A430-6047-9FFD-DF3A37AA9762}"/>
    </a:ext>
  </a:extLst>
</a:theme>
</file>

<file path=ppt/theme/theme13.xml><?xml version="1.0" encoding="utf-8"?>
<a:theme xmlns:a="http://schemas.openxmlformats.org/drawingml/2006/main" name="1_Windows Server 2016">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4.xml><?xml version="1.0" encoding="utf-8"?>
<a:theme xmlns:a="http://schemas.openxmlformats.org/drawingml/2006/main" name="1_CoreySanders-Igni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Ignite" id="{369A7E30-374D-4E79-9E78-9DF475D450E4}" vid="{3B131192-BDB3-44A6-BB51-8DBE8CC7FEF2}"/>
    </a:ext>
  </a:extLst>
</a:theme>
</file>

<file path=ppt/theme/theme15.xml><?xml version="1.0" encoding="utf-8"?>
<a:theme xmlns:a="http://schemas.openxmlformats.org/drawingml/2006/main" name="LIGHT COLOR TEMPLATE">
  <a:themeElements>
    <a:clrScheme name="Custom 6">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3.xml><?xml version="1.0" encoding="utf-8"?>
<a:theme xmlns:a="http://schemas.openxmlformats.org/drawingml/2006/main" name="CoreySanders-Igni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Ignite" id="{369A7E30-374D-4E79-9E78-9DF475D450E4}" vid="{3B131192-BDB3-44A6-BB51-8DBE8CC7FEF2}"/>
    </a:ext>
  </a:extLst>
</a:theme>
</file>

<file path=ppt/theme/theme4.xml><?xml version="1.0" encoding="utf-8"?>
<a:theme xmlns:a="http://schemas.openxmlformats.org/drawingml/2006/main" name="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5.xml><?xml version="1.0" encoding="utf-8"?>
<a:theme xmlns:a="http://schemas.openxmlformats.org/drawingml/2006/main" name="2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6.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DF40E4A2-A1CB-4B9F-9C8F-4FA079C91F3E}" vid="{87850380-4AD9-4240-BBE8-3BB34B321576}"/>
    </a:ext>
  </a:extLst>
</a:theme>
</file>

<file path=ppt/theme/theme7.xml><?xml version="1.0" encoding="utf-8"?>
<a:theme xmlns:a="http://schemas.openxmlformats.org/drawingml/2006/main" name="2_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8.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ppt/theme/theme9.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Override1.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2.xml><?xml version="1.0" encoding="utf-8"?>
<a:themeOverride xmlns:a="http://schemas.openxmlformats.org/drawingml/2006/main">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themeOverride>
</file>

<file path=ppt/theme/themeOverride3.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4.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374a576b-252b-4033-9c02-ecff5385156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EEAF30BC22BF148B3D66B4851151A37" ma:contentTypeVersion="13" ma:contentTypeDescription="Create a new document." ma:contentTypeScope="" ma:versionID="a3efb0229a4eba1c29f98ab8681e956a">
  <xsd:schema xmlns:xsd="http://www.w3.org/2001/XMLSchema" xmlns:xs="http://www.w3.org/2001/XMLSchema" xmlns:p="http://schemas.microsoft.com/office/2006/metadata/properties" xmlns:ns3="374a576b-252b-4033-9c02-ecff53851563" xmlns:ns4="b6ad1ac2-a485-42ac-ba4d-05ff470165f4" targetNamespace="http://schemas.microsoft.com/office/2006/metadata/properties" ma:root="true" ma:fieldsID="dd22d62ab0267e59b964222eaa522e6d" ns3:_="" ns4:_="">
    <xsd:import namespace="374a576b-252b-4033-9c02-ecff53851563"/>
    <xsd:import namespace="b6ad1ac2-a485-42ac-ba4d-05ff470165f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4a576b-252b-4033-9c02-ecff538515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ad1ac2-a485-42ac-ba4d-05ff470165f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374a576b-252b-4033-9c02-ecff53851563"/>
  </ds:schemaRefs>
</ds:datastoreItem>
</file>

<file path=customXml/itemProps2.xml><?xml version="1.0" encoding="utf-8"?>
<ds:datastoreItem xmlns:ds="http://schemas.openxmlformats.org/officeDocument/2006/customXml" ds:itemID="{65B3BAAC-03B5-4D1A-B489-C2DE65735F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4a576b-252b-4033-9c02-ecff53851563"/>
    <ds:schemaRef ds:uri="b6ad1ac2-a485-42ac-ba4d-05ff470165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8_16x9_Breakout_Template</Template>
  <TotalTime>206</TotalTime>
  <Words>2680</Words>
  <Application>Microsoft Office PowerPoint</Application>
  <PresentationFormat>Widescreen</PresentationFormat>
  <Paragraphs>442</Paragraphs>
  <Slides>24</Slides>
  <Notes>18</Notes>
  <HiddenSlides>0</HiddenSlides>
  <MMClips>1</MMClips>
  <ScaleCrop>false</ScaleCrop>
  <HeadingPairs>
    <vt:vector size="6" baseType="variant">
      <vt:variant>
        <vt:lpstr>Fonts Used</vt:lpstr>
      </vt:variant>
      <vt:variant>
        <vt:i4>17</vt:i4>
      </vt:variant>
      <vt:variant>
        <vt:lpstr>Theme</vt:lpstr>
      </vt:variant>
      <vt:variant>
        <vt:i4>15</vt:i4>
      </vt:variant>
      <vt:variant>
        <vt:lpstr>Slide Titles</vt:lpstr>
      </vt:variant>
      <vt:variant>
        <vt:i4>24</vt:i4>
      </vt:variant>
    </vt:vector>
  </HeadingPairs>
  <TitlesOfParts>
    <vt:vector size="56" baseType="lpstr">
      <vt:lpstr>Arial</vt:lpstr>
      <vt:lpstr>Arial Black</vt:lpstr>
      <vt:lpstr>Arial Nova Cond Light</vt:lpstr>
      <vt:lpstr>Calibri</vt:lpstr>
      <vt:lpstr>Consolas</vt:lpstr>
      <vt:lpstr>Muli</vt:lpstr>
      <vt:lpstr>Muli Black</vt:lpstr>
      <vt:lpstr>Muli Regular</vt:lpstr>
      <vt:lpstr>Segoe Pro</vt:lpstr>
      <vt:lpstr>Segoe Pro Semibold</vt:lpstr>
      <vt:lpstr>Segoe Semibold</vt:lpstr>
      <vt:lpstr>Segoe UI</vt:lpstr>
      <vt:lpstr>Segoe UI </vt:lpstr>
      <vt:lpstr>Segoe UI Light</vt:lpstr>
      <vt:lpstr>Segoe UI Semibold</vt:lpstr>
      <vt:lpstr>Segoe UI Semilight</vt:lpstr>
      <vt:lpstr>Wingdings</vt:lpstr>
      <vt:lpstr>5-50203_Microsoft_Ignite_Template</vt:lpstr>
      <vt:lpstr>1_Ingnite18</vt:lpstr>
      <vt:lpstr>CoreySanders-Ignite</vt:lpstr>
      <vt:lpstr>9-51027_Microsoft_Ready_Template</vt:lpstr>
      <vt:lpstr>2_9-51027_Microsoft_Ready_Template</vt:lpstr>
      <vt:lpstr>1_5-50203_Microsoft_Ignite_Template</vt:lpstr>
      <vt:lpstr>2_Ingnite18</vt:lpstr>
      <vt:lpstr>5-50183_Microsoft_Inspire_Template</vt:lpstr>
      <vt:lpstr>1_Azure PPT Template - 2018</vt:lpstr>
      <vt:lpstr>2_Azure PPT Template - 2018</vt:lpstr>
      <vt:lpstr>3_9-51027_Microsoft_Ready_Template</vt:lpstr>
      <vt:lpstr>Azure PPT 2018Q1 Light</vt:lpstr>
      <vt:lpstr>1_Windows Server 2016</vt:lpstr>
      <vt:lpstr>1_CoreySanders-Ignite</vt:lpstr>
      <vt:lpstr>LIGHT COLOR TEMPLATE</vt:lpstr>
      <vt:lpstr>Cloud Transformation</vt:lpstr>
      <vt:lpstr>PowerPoint Presentation</vt:lpstr>
      <vt:lpstr>PowerPoint Presentation</vt:lpstr>
      <vt:lpstr>PowerPoint Presentation</vt:lpstr>
      <vt:lpstr>Extended security updates, free   only on Azure</vt:lpstr>
      <vt:lpstr>Azure is the best destination for Windows Server and  SQL Server  </vt:lpstr>
      <vt:lpstr>Migration/ Modernization strategies, projects, and innovation </vt:lpstr>
      <vt:lpstr>Azure migration &amp; modernization scenarios</vt:lpstr>
      <vt:lpstr>Common Azure migration/modernization projects</vt:lpstr>
      <vt:lpstr>Reliable infrastructure to rehost any workload</vt:lpstr>
      <vt:lpstr>Azure migration journey and tools</vt:lpstr>
      <vt:lpstr>Unified and extensible Azure migration experience </vt:lpstr>
      <vt:lpstr>Choice of tools for every stage and every requirement</vt:lpstr>
      <vt:lpstr>Azure Fundamentals: Governance   </vt:lpstr>
      <vt:lpstr>Continuously optimize  resources during and after migration</vt:lpstr>
      <vt:lpstr>Key resources and investments</vt:lpstr>
      <vt:lpstr>Key elements to successful migrations </vt:lpstr>
      <vt:lpstr>Migration approach  </vt:lpstr>
      <vt:lpstr>Microsoft Cloud Adoption Framework for Azure</vt:lpstr>
      <vt:lpstr>PowerPoint Presentation</vt:lpstr>
      <vt:lpstr>Best practice example:  Building a cloud business case</vt:lpstr>
      <vt:lpstr>PowerPoint Presentation</vt:lpstr>
      <vt:lpstr>https://aka.ms/sarahfeedback</vt:lpstr>
      <vt:lpstr>https://aka.ms/sarahfeedback</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igration modernization pitch</dc:title>
  <dc:subject>Microsoft Ignite</dc:subject>
  <dc:creator>Gauri Kulkarni</dc:creator>
  <cp:keywords>Microsoft Ignite</cp:keywords>
  <dc:description/>
  <cp:lastModifiedBy>Sarah Lean</cp:lastModifiedBy>
  <cp:revision>3</cp:revision>
  <dcterms:created xsi:type="dcterms:W3CDTF">2018-09-13T19:16:02Z</dcterms:created>
  <dcterms:modified xsi:type="dcterms:W3CDTF">2019-07-31T17:16:57Z</dcterms:modified>
  <cp:category>Microsoft Igni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EAF30BC22BF148B3D66B4851151A3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Orange County Convention Center|bd993e89-aa48-4695-84e0-3b53e88b1a79</vt:lpwstr>
  </property>
  <property fmtid="{D5CDD505-2E9C-101B-9397-08002B2CF9AE}" pid="7" name="Track">
    <vt:lpwstr/>
  </property>
  <property fmtid="{D5CDD505-2E9C-101B-9397-08002B2CF9AE}" pid="8" name="Event Location">
    <vt:lpwstr>88;#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2239;#Microsoft Ignite|9323c522-fe4b-4922-816b-10a1920d7afb</vt:lpwstr>
  </property>
  <property fmtid="{D5CDD505-2E9C-101B-9397-08002B2CF9AE}" pid="21" name="Event Name">
    <vt:lpwstr>35;#Microsoft Ignite|9323c522-fe4b-4922-816b-10a1920d7afb</vt:lpwstr>
  </property>
  <property fmtid="{D5CDD505-2E9C-101B-9397-08002B2CF9AE}" pid="22" name="Audience1">
    <vt:lpwstr/>
  </property>
  <property fmtid="{D5CDD505-2E9C-101B-9397-08002B2CF9AE}" pid="23" name="NewsType">
    <vt:lpwstr/>
  </property>
  <property fmtid="{D5CDD505-2E9C-101B-9397-08002B2CF9AE}" pid="24" name="_dlc_policyId">
    <vt:lpwstr>0x0101000E4CB7077FEE4FF7AE86D4A500EEC780030016C849C62B10EB41ACA8C7EEDEF40BB20099ECF64382448D48A56095091C66B1A9|-661092312</vt:lpwstr>
  </property>
  <property fmtid="{D5CDD505-2E9C-101B-9397-08002B2CF9AE}" pid="25" name="Region">
    <vt:lpwstr/>
  </property>
  <property fmtid="{D5CDD505-2E9C-101B-9397-08002B2CF9AE}" pid="26" name="Confidentiality">
    <vt:lpwstr>14;#customer ready|8986c41d-21c5-4f8f-8a12-ea4625b46858</vt:lpwstr>
  </property>
  <property fmtid="{D5CDD505-2E9C-101B-9397-08002B2CF9AE}" pid="27" name="ItemType">
    <vt:lpwstr>435;#technical presentations|83a894cf-702b-47fc-aba5-41bd10dc1e75</vt:lpwstr>
  </property>
  <property fmtid="{D5CDD505-2E9C-101B-9397-08002B2CF9AE}" pid="28" name="Industries">
    <vt:lpwstr/>
  </property>
  <property fmtid="{D5CDD505-2E9C-101B-9397-08002B2CF9AE}" pid="29" name="MSProducts">
    <vt:lpwstr/>
  </property>
  <property fmtid="{D5CDD505-2E9C-101B-9397-08002B2CF9AE}" pid="30" name="SMSGDomain">
    <vt:lpwstr>1628;#Gear Up|5bd03d8b-c198-4367-bd72-be9dad12d703;#21;#Intelligent Cloud|adc2fe87-c79a-4ded-a449-3f86b954069d;#2553;#ICB PST Domain|f7f86ece-0ca0-48d7-99cb-d6c97e732478</vt:lpwstr>
  </property>
  <property fmtid="{D5CDD505-2E9C-101B-9397-08002B2CF9AE}" pid="31" name="Competitors">
    <vt:lpwstr/>
  </property>
  <property fmtid="{D5CDD505-2E9C-101B-9397-08002B2CF9AE}" pid="32" name="ExperienceContentType">
    <vt:lpwstr/>
  </property>
  <property fmtid="{D5CDD505-2E9C-101B-9397-08002B2CF9AE}" pid="33" name="BusinessArchitecture">
    <vt:lpwstr>2546;#Applications and Infrastructure|f69679d5-ce87-4413-9040-82ea79c5c527</vt:lpwstr>
  </property>
  <property fmtid="{D5CDD505-2E9C-101B-9397-08002B2CF9AE}" pid="34" name="Products">
    <vt:lpwstr>698;#Datacenter Services|611f9c4c-bfba-4f84-a44c-413de5c8eb72;#780;#Azure platform technologies|8bd4bfc2-b1c5-44e2-9165-9255aba99e0e</vt:lpwstr>
  </property>
  <property fmtid="{D5CDD505-2E9C-101B-9397-08002B2CF9AE}" pid="35" name="l6f004f21209409da86a713c0f24627d">
    <vt:lpwstr/>
  </property>
  <property fmtid="{D5CDD505-2E9C-101B-9397-08002B2CF9AE}" pid="36" name="MSProductsTaxHTField0">
    <vt:lpwstr/>
  </property>
  <property fmtid="{D5CDD505-2E9C-101B-9397-08002B2CF9AE}" pid="37" name="_docset_NoMedatataSyncRequired">
    <vt:lpwstr>False</vt:lpwstr>
  </property>
  <property fmtid="{D5CDD505-2E9C-101B-9397-08002B2CF9AE}" pid="38" name="e8080b0481964c759b2c36ae49591b31">
    <vt:lpwstr/>
  </property>
  <property fmtid="{D5CDD505-2E9C-101B-9397-08002B2CF9AE}" pid="39" name="TechnicalLevel">
    <vt:lpwstr>3067;#200 (intermediate)|855c9113-a119-44e7-b3de-bccffe25ed46</vt:lpwstr>
  </property>
  <property fmtid="{D5CDD505-2E9C-101B-9397-08002B2CF9AE}" pid="40" name="Audiences">
    <vt:lpwstr/>
  </property>
  <property fmtid="{D5CDD505-2E9C-101B-9397-08002B2CF9AE}" pid="41" name="ldac8aee9d1f469e8cd8c3f8d6a615f2">
    <vt:lpwstr/>
  </property>
  <property fmtid="{D5CDD505-2E9C-101B-9397-08002B2CF9AE}" pid="42" name="EmployeeRole">
    <vt:lpwstr/>
  </property>
  <property fmtid="{D5CDD505-2E9C-101B-9397-08002B2CF9AE}" pid="43" name="NewsTopic">
    <vt:lpwstr/>
  </property>
  <property fmtid="{D5CDD505-2E9C-101B-9397-08002B2CF9AE}" pid="44" name="Roles">
    <vt:lpwstr/>
  </property>
  <property fmtid="{D5CDD505-2E9C-101B-9397-08002B2CF9AE}" pid="4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6" name="NewsSource">
    <vt:lpwstr/>
  </property>
  <property fmtid="{D5CDD505-2E9C-101B-9397-08002B2CF9AE}" pid="47" name="SMSGTags">
    <vt:lpwstr/>
  </property>
  <property fmtid="{D5CDD505-2E9C-101B-9397-08002B2CF9AE}" pid="48" name="_dlc_DocIdItemGuid">
    <vt:lpwstr>f92ac2d7-ca9f-40f3-8ef7-3e576adc814d</vt:lpwstr>
  </property>
  <property fmtid="{D5CDD505-2E9C-101B-9397-08002B2CF9AE}" pid="49" name="MSPhysicalGeography">
    <vt:lpwstr/>
  </property>
  <property fmtid="{D5CDD505-2E9C-101B-9397-08002B2CF9AE}" pid="50" name="EnterpriseDomainTags">
    <vt:lpwstr/>
  </property>
  <property fmtid="{D5CDD505-2E9C-101B-9397-08002B2CF9AE}" pid="51" name="j3562c58ee414e028925bc902cfc01a1">
    <vt:lpwstr/>
  </property>
  <property fmtid="{D5CDD505-2E9C-101B-9397-08002B2CF9AE}" pid="52" name="Segments">
    <vt:lpwstr/>
  </property>
  <property fmtid="{D5CDD505-2E9C-101B-9397-08002B2CF9AE}" pid="53" name="Partners">
    <vt:lpwstr/>
  </property>
  <property fmtid="{D5CDD505-2E9C-101B-9397-08002B2CF9AE}" pid="54" name="ActivitiesAndPrograms">
    <vt:lpwstr/>
  </property>
  <property fmtid="{D5CDD505-2E9C-101B-9397-08002B2CF9AE}" pid="55" name="la4444b61d19467597d63190b69ac227">
    <vt:lpwstr/>
  </property>
  <property fmtid="{D5CDD505-2E9C-101B-9397-08002B2CF9AE}" pid="56" name="Groups">
    <vt:lpwstr>42;#Cloud + AI Marketing|4f75e184-e5aa-4234-a07f-b032d60df254</vt:lpwstr>
  </property>
  <property fmtid="{D5CDD505-2E9C-101B-9397-08002B2CF9AE}" pid="57" name="Topics">
    <vt:lpwstr>2554;#Fiscal Year 2019|37cfb2d9-82d6-4aee-ad7b-3dc8286123ca</vt:lpwstr>
  </property>
  <property fmtid="{D5CDD505-2E9C-101B-9397-08002B2CF9AE}" pid="58" name="Languages">
    <vt:lpwstr/>
  </property>
  <property fmtid="{D5CDD505-2E9C-101B-9397-08002B2CF9AE}" pid="59" name="of67e5d4b76f4a9db8769983fda9cec0">
    <vt:lpwstr/>
  </property>
  <property fmtid="{D5CDD505-2E9C-101B-9397-08002B2CF9AE}" pid="60" name="SharedWithUsers">
    <vt:lpwstr>36523;#Thomas Bonefeld Jørgensen;#47697;#Stavrinos Kyriakou;#90023;#Julie-Anne Arsenault;#13725;#João Alves Jr.;#138404;#Marian Tolentino</vt:lpwstr>
  </property>
  <property fmtid="{D5CDD505-2E9C-101B-9397-08002B2CF9AE}" pid="61" name="SMSG Items">
    <vt:lpwstr>3091;#documents|e037ed84-7d8e-4cbb-9c8f-61e80301a44f</vt:lpwstr>
  </property>
  <property fmtid="{D5CDD505-2E9C-101B-9397-08002B2CF9AE}" pid="62" name="Solution Areas">
    <vt:lpwstr>3089;#Applications and Infrastructure|f69679d5-ce87-4413-9040-82ea79c5c527</vt:lpwstr>
  </property>
  <property fmtid="{D5CDD505-2E9C-101B-9397-08002B2CF9AE}" pid="63" name="MSProfessions">
    <vt:lpwstr>3094;#sales|72627068-acd7-4c1a-8b95-a0256be5dc9f;#3095;# Technical Sales|831f7989-43a4-4e48-852a-a5355978f47f</vt:lpwstr>
  </property>
</Properties>
</file>